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1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6EF37103-F65B-4859-BDBE-1DDDE9F2D8A6}">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Lst>
        </p14:section>
        <p14:section name="Sectors Share and Growth By Brands" id="{228F0567-28D0-4D3A-9169-0BDAE3756C21}">
          <p14:sldIdLst>
            <p14:sldId id="2147477477"/>
          </p14:sldIdLst>
        </p14:section>
        <p14:section name="Segments Share and Growth By Brands" id="{643FAA7A-82BB-442F-BC9E-F74C41EFB532}">
          <p14:sldIdLst>
            <p14:sldId id="2147477478"/>
          </p14:sldIdLst>
        </p14:section>
        <p14:section name="SubSegments Share and Growth By Brands" id="{B7BF3DE9-D0D7-4A60-9390-2416FB6E6AAF}">
          <p14:sldIdLst>
            <p14:sldId id="2147477479"/>
          </p14:sldIdLst>
        </p14:section>
        <p14:section name="SubCategory Share and Growth By Brands" id="{EE169D16-186F-4CD6-8A1D-7D86BD6737CC}">
          <p14:sldIdLst>
            <p14:sldId id="2147477480"/>
          </p14:sldIdLst>
        </p14:section>
        <p14:section name="Price Point Distribution Analysis By Brand" id="{B6BBA257-7042-4957-BE74-0A24BE4857F4}">
          <p14:sldIdLst>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notesMaster" Target="notesMasters/notesMaster1.xml"/><Relationship Id="rId214" Type="http://schemas.openxmlformats.org/officeDocument/2006/relationships/presProps" Target="presProps.xml"/><Relationship Id="rId215" Type="http://schemas.openxmlformats.org/officeDocument/2006/relationships/viewProps" Target="viewProps.xml"/><Relationship Id="rId216" Type="http://schemas.openxmlformats.org/officeDocument/2006/relationships/theme" Target="theme/theme1.xml"/><Relationship Id="rId217" Type="http://schemas.openxmlformats.org/officeDocument/2006/relationships/tableStyles" Target="tableStyles.xml"/><Relationship Id="rId21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4EE9B9-B451-4526-AA6D-3AB9B8EFF3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740E30-9C81-427D-ACFC-F7F6F4DC2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11E69E9-874E-4093-AE38-111AD50A4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F05D87F-01D9-443B-9411-874D128E39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1DA487-A4E9-4A3F-AFE1-9549A5EBB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CE9FFA4-B9E1-41E4-99C2-A1529B952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5BC554-8ACE-4454-AB2A-3BBF638D6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0D53FF-25E4-48C7-ADEE-6CF86C8EA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1338</c:v>
                </c:pt>
                <c:pt idx="1">
                  <c:v>209.1561</c:v>
                </c:pt>
                <c:pt idx="2">
                  <c:v>222.7422</c:v>
                </c:pt>
                <c:pt idx="3">
                  <c:v>577.1653</c:v>
                </c:pt>
                <c:pt idx="4">
                  <c:v>289.7245</c:v>
                </c:pt>
                <c:pt idx="5">
                  <c:v>84.4812</c:v>
                </c:pt>
                <c:pt idx="6">
                  <c:v>506.8335</c:v>
                </c:pt>
                <c:pt idx="7">
                  <c:v>566.1069</c:v>
                </c:pt>
              </c:numCache>
            </c:numRef>
          </c:xVal>
          <c:yVal>
            <c:numRef>
              <c:f>Sheet1!$B$2:$B$9</c:f>
              <c:numCache>
                <c:formatCode>General</c:formatCode>
                <c:ptCount val="8"/>
                <c:pt idx="0">
                  <c:v>1.038</c:v>
                </c:pt>
                <c:pt idx="1">
                  <c:v>0.746</c:v>
                </c:pt>
                <c:pt idx="2">
                  <c:v>0.726</c:v>
                </c:pt>
                <c:pt idx="3">
                  <c:v>4.18</c:v>
                </c:pt>
                <c:pt idx="4">
                  <c:v>2.057</c:v>
                </c:pt>
                <c:pt idx="5">
                  <c:v>0.416</c:v>
                </c:pt>
                <c:pt idx="6">
                  <c:v>6.353</c:v>
                </c:pt>
                <c:pt idx="7">
                  <c:v>4.927</c:v>
                </c:pt>
              </c:numCache>
            </c:numRef>
          </c:yVal>
          <c:bubbleSize>
            <c:numRef>
              <c:f>Sheet1!$C$2:$C$9</c:f>
              <c:numCache>
                <c:formatCode>General</c:formatCode>
                <c:ptCount val="8"/>
                <c:pt idx="0">
                  <c:v>536202668</c:v>
                </c:pt>
                <c:pt idx="1">
                  <c:v>269083052</c:v>
                </c:pt>
                <c:pt idx="2">
                  <c:v>215531333</c:v>
                </c:pt>
                <c:pt idx="3">
                  <c:v>108131910</c:v>
                </c:pt>
                <c:pt idx="4">
                  <c:v>102115148</c:v>
                </c:pt>
                <c:pt idx="5">
                  <c:v>62392994</c:v>
                </c:pt>
                <c:pt idx="6">
                  <c:v>50910918</c:v>
                </c:pt>
                <c:pt idx="7">
                  <c:v>413031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774890-DDD2-4279-BBA9-5C6B87CF48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DD0E54-7D0F-48F3-9FAF-D552D3EEC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4204EB-B9DD-41F0-B1CB-1A302AE3D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6BA89F-CFCA-49AD-A11B-E37AA43D5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6363F1-931F-4516-9565-08C7DCF4E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B2F788-7A48-459A-AAAE-46D931E951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E14C73-C9AD-4ED6-A9D3-BE6129C00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27DB5C-DDBC-4F0E-89B1-3DB92C010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5.2018</c:v>
                </c:pt>
                <c:pt idx="1">
                  <c:v>245.2593</c:v>
                </c:pt>
                <c:pt idx="2">
                  <c:v>220.0378</c:v>
                </c:pt>
                <c:pt idx="3">
                  <c:v>252.9688</c:v>
                </c:pt>
                <c:pt idx="4">
                  <c:v>133.7369</c:v>
                </c:pt>
              </c:numCache>
            </c:numRef>
          </c:xVal>
          <c:yVal>
            <c:numRef>
              <c:f>Sheet1!$B$2:$B$6</c:f>
              <c:numCache>
                <c:formatCode>General</c:formatCode>
                <c:ptCount val="5"/>
                <c:pt idx="0">
                  <c:v>1.006</c:v>
                </c:pt>
                <c:pt idx="1">
                  <c:v>1.106</c:v>
                </c:pt>
                <c:pt idx="2">
                  <c:v>0.835</c:v>
                </c:pt>
                <c:pt idx="3">
                  <c:v>1.095</c:v>
                </c:pt>
                <c:pt idx="4">
                  <c:v>0.839</c:v>
                </c:pt>
              </c:numCache>
            </c:numRef>
          </c:yVal>
          <c:bubbleSize>
            <c:numRef>
              <c:f>Sheet1!$C$2:$C$6</c:f>
              <c:numCache>
                <c:formatCode>General</c:formatCode>
                <c:ptCount val="5"/>
                <c:pt idx="0">
                  <c:v>13323472</c:v>
                </c:pt>
                <c:pt idx="1">
                  <c:v>8223055</c:v>
                </c:pt>
                <c:pt idx="2">
                  <c:v>2810543</c:v>
                </c:pt>
                <c:pt idx="3">
                  <c:v>1516295</c:v>
                </c:pt>
                <c:pt idx="4">
                  <c:v>56209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8.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FF67F2-1B68-47CA-B55D-19824FA09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77BB93-6BDC-4E15-9518-1254FF24F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ADF8B8-7D7D-43EB-B11F-76937E2FF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493B70-84F9-4922-AD24-4E1A54A5C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59C9C1-3626-4A19-B826-CD8A9C1B40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905B06-6D36-4328-BB51-7B7A4BD4A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4D98584-CFD2-40A5-9FCD-B2355EA8A1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B7ACD4-359D-489C-9DFD-CC0BF2E10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6869</c:v>
                </c:pt>
                <c:pt idx="1">
                  <c:v>601.0742</c:v>
                </c:pt>
                <c:pt idx="2">
                  <c:v>551.8813</c:v>
                </c:pt>
                <c:pt idx="3">
                  <c:v>168.5996</c:v>
                </c:pt>
                <c:pt idx="4">
                  <c:v>134.0757</c:v>
                </c:pt>
                <c:pt idx="5">
                  <c:v>561.1701</c:v>
                </c:pt>
                <c:pt idx="6">
                  <c:v>636.5479</c:v>
                </c:pt>
              </c:numCache>
            </c:numRef>
          </c:xVal>
          <c:yVal>
            <c:numRef>
              <c:f>Sheet1!$B$2:$B$8</c:f>
              <c:numCache>
                <c:formatCode>General</c:formatCode>
                <c:ptCount val="7"/>
                <c:pt idx="0">
                  <c:v>0.99</c:v>
                </c:pt>
                <c:pt idx="1">
                  <c:v>1.745</c:v>
                </c:pt>
                <c:pt idx="2">
                  <c:v>8.173</c:v>
                </c:pt>
                <c:pt idx="3">
                  <c:v>0.501</c:v>
                </c:pt>
                <c:pt idx="4">
                  <c:v>0.307</c:v>
                </c:pt>
                <c:pt idx="5">
                  <c:v>8.331</c:v>
                </c:pt>
                <c:pt idx="6">
                  <c:v>0.0</c:v>
                </c:pt>
              </c:numCache>
            </c:numRef>
          </c:yVal>
          <c:bubbleSize>
            <c:numRef>
              <c:f>Sheet1!$C$2:$C$8</c:f>
              <c:numCache>
                <c:formatCode>General</c:formatCode>
                <c:ptCount val="7"/>
                <c:pt idx="0">
                  <c:v>16062904</c:v>
                </c:pt>
                <c:pt idx="1">
                  <c:v>3238588</c:v>
                </c:pt>
                <c:pt idx="2">
                  <c:v>1854873</c:v>
                </c:pt>
                <c:pt idx="3">
                  <c:v>1242916</c:v>
                </c:pt>
                <c:pt idx="4">
                  <c:v>1106527</c:v>
                </c:pt>
                <c:pt idx="5">
                  <c:v>798545</c:v>
                </c:pt>
                <c:pt idx="6">
                  <c:v>27880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4.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892808-93F5-4B6D-B57B-A221B40B14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70B93C-98F8-440C-ADC5-057F1B626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C31D1F-DE29-4B27-8789-AA47176B5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122C1B-B4B2-4A01-B446-BDC00D8BC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2DFD1C-BF1C-45B0-A8F9-48DDE3192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E00CCD-914E-4E1C-AD45-F7CFDE8CB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4E607A-16EF-4D39-9427-DBAF5BAD3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61C370-D5E8-4907-A3C4-D5D32E7466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71.565</c:v>
                </c:pt>
                <c:pt idx="1">
                  <c:v>596.1074</c:v>
                </c:pt>
                <c:pt idx="2">
                  <c:v>245.0052</c:v>
                </c:pt>
                <c:pt idx="3">
                  <c:v>538.8012</c:v>
                </c:pt>
                <c:pt idx="4">
                  <c:v>535.9268</c:v>
                </c:pt>
                <c:pt idx="5">
                  <c:v>453.0601</c:v>
                </c:pt>
              </c:numCache>
            </c:numRef>
          </c:xVal>
          <c:yVal>
            <c:numRef>
              <c:f>Sheet1!$B$2:$B$7</c:f>
              <c:numCache>
                <c:formatCode>General</c:formatCode>
                <c:ptCount val="6"/>
                <c:pt idx="0">
                  <c:v>1.087</c:v>
                </c:pt>
                <c:pt idx="1">
                  <c:v>1.258</c:v>
                </c:pt>
                <c:pt idx="2">
                  <c:v>0.54</c:v>
                </c:pt>
                <c:pt idx="3">
                  <c:v>0.956</c:v>
                </c:pt>
                <c:pt idx="4">
                  <c:v>11.086</c:v>
                </c:pt>
                <c:pt idx="5">
                  <c:v>2.271</c:v>
                </c:pt>
              </c:numCache>
            </c:numRef>
          </c:yVal>
          <c:bubbleSize>
            <c:numRef>
              <c:f>Sheet1!$C$2:$C$7</c:f>
              <c:numCache>
                <c:formatCode>General</c:formatCode>
                <c:ptCount val="6"/>
                <c:pt idx="0">
                  <c:v>2593762</c:v>
                </c:pt>
                <c:pt idx="1">
                  <c:v>2529880</c:v>
                </c:pt>
                <c:pt idx="2">
                  <c:v>1803483</c:v>
                </c:pt>
                <c:pt idx="3">
                  <c:v>842685</c:v>
                </c:pt>
                <c:pt idx="4">
                  <c:v>651687</c:v>
                </c:pt>
                <c:pt idx="5">
                  <c:v>3470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5.0"/>
          <c:min val="19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BB65DB-2A01-444F-A324-ADBA4329C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6060C1-C296-49D5-90DF-9B13BA8B42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E61331-82AC-4D5E-A343-153EB1B1A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E4ECE7-FE76-4F19-A01F-251AB9C8EC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9FBDE3-6C4D-4B3E-8011-646DDD788F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7AC422D-D7E5-4B35-AA5A-1692AA120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300217-2B22-4861-82E8-7EABDF930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0D96DE-010F-4757-9F26-4EBB68FC64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307</c:v>
                </c:pt>
                <c:pt idx="1">
                  <c:v>265.5057</c:v>
                </c:pt>
                <c:pt idx="2">
                  <c:v>267.6996</c:v>
                </c:pt>
                <c:pt idx="3">
                  <c:v>577.608</c:v>
                </c:pt>
                <c:pt idx="4">
                  <c:v>718.4592</c:v>
                </c:pt>
              </c:numCache>
            </c:numRef>
          </c:xVal>
          <c:yVal>
            <c:numRef>
              <c:f>Sheet1!$B$2:$B$6</c:f>
              <c:numCache>
                <c:formatCode>General</c:formatCode>
                <c:ptCount val="5"/>
                <c:pt idx="0">
                  <c:v>1.002</c:v>
                </c:pt>
                <c:pt idx="1">
                  <c:v>1.012</c:v>
                </c:pt>
                <c:pt idx="2">
                  <c:v>0.855</c:v>
                </c:pt>
                <c:pt idx="3">
                  <c:v>4.368</c:v>
                </c:pt>
                <c:pt idx="4">
                  <c:v>2.785</c:v>
                </c:pt>
              </c:numCache>
            </c:numRef>
          </c:yVal>
          <c:bubbleSize>
            <c:numRef>
              <c:f>Sheet1!$C$2:$C$6</c:f>
              <c:numCache>
                <c:formatCode>General</c:formatCode>
                <c:ptCount val="5"/>
                <c:pt idx="0">
                  <c:v>6722997</c:v>
                </c:pt>
                <c:pt idx="1">
                  <c:v>4464213</c:v>
                </c:pt>
                <c:pt idx="2">
                  <c:v>4400179</c:v>
                </c:pt>
                <c:pt idx="3">
                  <c:v>620351</c:v>
                </c:pt>
                <c:pt idx="4">
                  <c:v>2112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62.0"/>
          <c:min val="21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1AA2DC-D177-4E6F-8A5A-DEB6E772C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40A39B-1CDA-46DC-ACA6-F303BF22C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93DE1B-E5D1-493A-897C-966658469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FFF538-5CB5-46B1-B624-D7AE03A23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BF3FE3-93E5-4DB3-9F11-E4EC38FFD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C0312D-9234-48A3-901B-2853ABFD6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124DF8-7D30-439E-B5F1-FE427CA4B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9AA963-1920-4F18-BD9F-698551A9D5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1884</c:v>
                </c:pt>
                <c:pt idx="1">
                  <c:v>296.7036</c:v>
                </c:pt>
                <c:pt idx="2">
                  <c:v>243.2207</c:v>
                </c:pt>
                <c:pt idx="3">
                  <c:v>246.9895</c:v>
                </c:pt>
                <c:pt idx="4">
                  <c:v>85.8776</c:v>
                </c:pt>
                <c:pt idx="5">
                  <c:v>592.2873</c:v>
                </c:pt>
                <c:pt idx="6">
                  <c:v>74.8204</c:v>
                </c:pt>
                <c:pt idx="7">
                  <c:v>522.1482</c:v>
                </c:pt>
              </c:numCache>
            </c:numRef>
          </c:xVal>
          <c:yVal>
            <c:numRef>
              <c:f>Sheet1!$B$2:$B$9</c:f>
              <c:numCache>
                <c:formatCode>General</c:formatCode>
                <c:ptCount val="8"/>
                <c:pt idx="0">
                  <c:v>1.42</c:v>
                </c:pt>
                <c:pt idx="1">
                  <c:v>2.217</c:v>
                </c:pt>
                <c:pt idx="2">
                  <c:v>0.769</c:v>
                </c:pt>
                <c:pt idx="3">
                  <c:v>0.705</c:v>
                </c:pt>
                <c:pt idx="4">
                  <c:v>0.428</c:v>
                </c:pt>
                <c:pt idx="5">
                  <c:v>8.622</c:v>
                </c:pt>
                <c:pt idx="6">
                  <c:v>0.407</c:v>
                </c:pt>
                <c:pt idx="7">
                  <c:v>5.418</c:v>
                </c:pt>
              </c:numCache>
            </c:numRef>
          </c:yVal>
          <c:bubbleSize>
            <c:numRef>
              <c:f>Sheet1!$C$2:$C$9</c:f>
              <c:numCache>
                <c:formatCode>General</c:formatCode>
                <c:ptCount val="8"/>
                <c:pt idx="0">
                  <c:v>29673359</c:v>
                </c:pt>
                <c:pt idx="1">
                  <c:v>15085897</c:v>
                </c:pt>
                <c:pt idx="2">
                  <c:v>13521853</c:v>
                </c:pt>
                <c:pt idx="3">
                  <c:v>13036602</c:v>
                </c:pt>
                <c:pt idx="4">
                  <c:v>11365128</c:v>
                </c:pt>
                <c:pt idx="5">
                  <c:v>7846030</c:v>
                </c:pt>
                <c:pt idx="6">
                  <c:v>4294539</c:v>
                </c:pt>
                <c:pt idx="7">
                  <c:v>23282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D524D5-0C8A-4A65-A21E-1DC29E4B8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D5B300-A323-4578-A6B9-6D6DF605B9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7D7A89-A388-437F-841C-EBB769B365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6D7ED5-B21B-4F74-A40A-6B737F5B0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CE2B50-9931-43EF-A533-A6870E23E4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A5BC63-4E12-47EF-B9F0-CCCB86155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F1A46B-568B-4E44-8DD0-AA5310C1C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0278B8-30AF-4B4C-83D1-A3D1B87AF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89.3015</c:v>
                </c:pt>
                <c:pt idx="1">
                  <c:v>228.2414</c:v>
                </c:pt>
                <c:pt idx="2">
                  <c:v>164.3133</c:v>
                </c:pt>
                <c:pt idx="3">
                  <c:v>221.1781</c:v>
                </c:pt>
              </c:numCache>
            </c:numRef>
          </c:xVal>
          <c:yVal>
            <c:numRef>
              <c:f>Sheet1!$B$2:$B$5</c:f>
              <c:numCache>
                <c:formatCode>General</c:formatCode>
                <c:ptCount val="4"/>
                <c:pt idx="0">
                  <c:v>0.887</c:v>
                </c:pt>
                <c:pt idx="1">
                  <c:v>0.977</c:v>
                </c:pt>
                <c:pt idx="2">
                  <c:v>0.812</c:v>
                </c:pt>
                <c:pt idx="3">
                  <c:v>3.143</c:v>
                </c:pt>
              </c:numCache>
            </c:numRef>
          </c:yVal>
          <c:bubbleSize>
            <c:numRef>
              <c:f>Sheet1!$C$2:$C$5</c:f>
              <c:numCache>
                <c:formatCode>General</c:formatCode>
                <c:ptCount val="4"/>
                <c:pt idx="0">
                  <c:v>22659005</c:v>
                </c:pt>
                <c:pt idx="1">
                  <c:v>21970290</c:v>
                </c:pt>
                <c:pt idx="2">
                  <c:v>4759827</c:v>
                </c:pt>
                <c:pt idx="3">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4.0"/>
          <c:min val="1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318AB3-9DDD-422D-9594-AF4A4E937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8BC9E4-C594-4479-8153-BB9E89928D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6CA700-3D90-436D-9522-1A34BC3C6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D056F7-E27A-41C6-9867-33B5815FA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156AFF-38CB-40F4-A4E0-2395E6D18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AA64C1-9A4E-444B-98DD-345CA8CF78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3434EB-7912-4E21-99CE-14EA73F6A7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436A41-FF2E-4EAD-B216-42B57558B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4.5923</c:v>
                </c:pt>
                <c:pt idx="1">
                  <c:v>602.2839</c:v>
                </c:pt>
                <c:pt idx="2">
                  <c:v>168.8724</c:v>
                </c:pt>
                <c:pt idx="3">
                  <c:v>555.812</c:v>
                </c:pt>
                <c:pt idx="4">
                  <c:v>135.2869</c:v>
                </c:pt>
                <c:pt idx="5">
                  <c:v>550.4529</c:v>
                </c:pt>
                <c:pt idx="6">
                  <c:v>610.6858</c:v>
                </c:pt>
              </c:numCache>
            </c:numRef>
          </c:xVal>
          <c:yVal>
            <c:numRef>
              <c:f>Sheet1!$B$2:$B$8</c:f>
              <c:numCache>
                <c:formatCode>General</c:formatCode>
                <c:ptCount val="7"/>
                <c:pt idx="0">
                  <c:v>1.059</c:v>
                </c:pt>
                <c:pt idx="1">
                  <c:v>1.837</c:v>
                </c:pt>
                <c:pt idx="2">
                  <c:v>0.519</c:v>
                </c:pt>
                <c:pt idx="3">
                  <c:v>8.612</c:v>
                </c:pt>
                <c:pt idx="4">
                  <c:v>0.33</c:v>
                </c:pt>
                <c:pt idx="5">
                  <c:v>7.9</c:v>
                </c:pt>
                <c:pt idx="6">
                  <c:v>121.45</c:v>
                </c:pt>
              </c:numCache>
            </c:numRef>
          </c:yVal>
          <c:bubbleSize>
            <c:numRef>
              <c:f>Sheet1!$C$2:$C$8</c:f>
              <c:numCache>
                <c:formatCode>General</c:formatCode>
                <c:ptCount val="7"/>
                <c:pt idx="0">
                  <c:v>11510823</c:v>
                </c:pt>
                <c:pt idx="1">
                  <c:v>3118024</c:v>
                </c:pt>
                <c:pt idx="2">
                  <c:v>1565109</c:v>
                </c:pt>
                <c:pt idx="3">
                  <c:v>1546269</c:v>
                </c:pt>
                <c:pt idx="4">
                  <c:v>1453252</c:v>
                </c:pt>
                <c:pt idx="5">
                  <c:v>805863</c:v>
                </c:pt>
                <c:pt idx="6">
                  <c:v>33038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0"/>
          <c:min val="10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CA6748-93BB-4279-BE55-5966BC481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809691-585E-4BD1-9BF4-68D2288A9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45B3CF-5E7B-47FE-B3C2-924871BFA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10BE82-6A49-4707-B7DA-7A44D834B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90184D-A36F-478C-9F19-010EC2040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DE87A5-1610-4466-8B09-49EE14E3F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6B18F5-87C9-444E-ABE3-D7B5E56AE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5FBDC82-AB41-4B41-AF8A-0B11C7970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64.3727</c:v>
                </c:pt>
                <c:pt idx="1">
                  <c:v>591.359</c:v>
                </c:pt>
                <c:pt idx="2">
                  <c:v>243.0667</c:v>
                </c:pt>
                <c:pt idx="3">
                  <c:v>539.0345</c:v>
                </c:pt>
                <c:pt idx="4">
                  <c:v>524.2725</c:v>
                </c:pt>
                <c:pt idx="5">
                  <c:v>376.239</c:v>
                </c:pt>
                <c:pt idx="6">
                  <c:v>276.9446</c:v>
                </c:pt>
              </c:numCache>
            </c:numRef>
          </c:xVal>
          <c:yVal>
            <c:numRef>
              <c:f>Sheet1!$B$2:$B$8</c:f>
              <c:numCache>
                <c:formatCode>General</c:formatCode>
                <c:ptCount val="7"/>
                <c:pt idx="0">
                  <c:v>1.067</c:v>
                </c:pt>
                <c:pt idx="1">
                  <c:v>1.305</c:v>
                </c:pt>
                <c:pt idx="2">
                  <c:v>0.526</c:v>
                </c:pt>
                <c:pt idx="3">
                  <c:v>5.037</c:v>
                </c:pt>
                <c:pt idx="4">
                  <c:v>0.886</c:v>
                </c:pt>
                <c:pt idx="5">
                  <c:v>1.408</c:v>
                </c:pt>
                <c:pt idx="6">
                  <c:v>0.541</c:v>
                </c:pt>
              </c:numCache>
            </c:numRef>
          </c:yVal>
          <c:bubbleSize>
            <c:numRef>
              <c:f>Sheet1!$C$2:$C$8</c:f>
              <c:numCache>
                <c:formatCode>General</c:formatCode>
                <c:ptCount val="7"/>
                <c:pt idx="0">
                  <c:v>2382217</c:v>
                </c:pt>
                <c:pt idx="1">
                  <c:v>2325815</c:v>
                </c:pt>
                <c:pt idx="2">
                  <c:v>1511389</c:v>
                </c:pt>
                <c:pt idx="3">
                  <c:v>717994</c:v>
                </c:pt>
                <c:pt idx="4">
                  <c:v>694661</c:v>
                </c:pt>
                <c:pt idx="5">
                  <c:v>401447</c:v>
                </c:pt>
                <c:pt idx="6">
                  <c:v>9000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19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31816DA-AD3A-4EE8-8724-A266A1D6E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5A845E-688C-4084-9D0A-EF547405AB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A98B62-2475-419F-B935-63567EDE3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A0C984-FF29-4991-9C00-FC78EFE03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14D1F4-719A-4587-BBE4-A9FDE4B01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950AE5-68DD-4176-BCBA-A67D696D13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B448DC-86C9-4DB2-AEAD-C5FC722DBA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F635AA2-43E2-41B8-9F5A-19600EF8D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84.3699</c:v>
                </c:pt>
                <c:pt idx="1">
                  <c:v>280.7058</c:v>
                </c:pt>
                <c:pt idx="2">
                  <c:v>286.3473</c:v>
                </c:pt>
                <c:pt idx="3">
                  <c:v>581.4377</c:v>
                </c:pt>
                <c:pt idx="4">
                  <c:v>712.2493</c:v>
                </c:pt>
              </c:numCache>
            </c:numRef>
          </c:xVal>
          <c:yVal>
            <c:numRef>
              <c:f>Sheet1!$B$2:$B$6</c:f>
              <c:numCache>
                <c:formatCode>General</c:formatCode>
                <c:ptCount val="5"/>
                <c:pt idx="0">
                  <c:v>1.01</c:v>
                </c:pt>
                <c:pt idx="1">
                  <c:v>0.956</c:v>
                </c:pt>
                <c:pt idx="2">
                  <c:v>0.984</c:v>
                </c:pt>
                <c:pt idx="3">
                  <c:v>4.025</c:v>
                </c:pt>
                <c:pt idx="4">
                  <c:v>2.671</c:v>
                </c:pt>
              </c:numCache>
            </c:numRef>
          </c:yVal>
          <c:bubbleSize>
            <c:numRef>
              <c:f>Sheet1!$C$2:$C$6</c:f>
              <c:numCache>
                <c:formatCode>General</c:formatCode>
                <c:ptCount val="5"/>
                <c:pt idx="0">
                  <c:v>7929085</c:v>
                </c:pt>
                <c:pt idx="1">
                  <c:v>7598986</c:v>
                </c:pt>
                <c:pt idx="2">
                  <c:v>7242010</c:v>
                </c:pt>
                <c:pt idx="3">
                  <c:v>429101</c:v>
                </c:pt>
                <c:pt idx="4">
                  <c:v>2457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55.0"/>
          <c:min val="2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290EE4-FBC1-4324-9C48-8E491E56A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8A9E6C-5435-4055-9DBC-4CE3424E6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32E8BC-B2CB-47BE-B88B-69A9D0952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300085-BDE0-41D0-A65C-36F67F2DE8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FD8B6C-3369-4E74-B818-EE82A3F25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299179-71C1-4FAD-ADE6-6BC99E8A6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302886-C9D1-4956-8662-B7934C4FB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E84F07-5047-425D-B563-5007AEC00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1.4305</c:v>
                </c:pt>
                <c:pt idx="1">
                  <c:v>245.5688</c:v>
                </c:pt>
                <c:pt idx="2">
                  <c:v>294.3934</c:v>
                </c:pt>
                <c:pt idx="3">
                  <c:v>241.8605</c:v>
                </c:pt>
                <c:pt idx="4">
                  <c:v>80.9126</c:v>
                </c:pt>
                <c:pt idx="5">
                  <c:v>614.8187</c:v>
                </c:pt>
                <c:pt idx="6">
                  <c:v>73.0856</c:v>
                </c:pt>
              </c:numCache>
            </c:numRef>
          </c:xVal>
          <c:yVal>
            <c:numRef>
              <c:f>Sheet1!$B$2:$B$8</c:f>
              <c:numCache>
                <c:formatCode>General</c:formatCode>
                <c:ptCount val="7"/>
                <c:pt idx="0">
                  <c:v>1.506</c:v>
                </c:pt>
                <c:pt idx="1">
                  <c:v>0.745</c:v>
                </c:pt>
                <c:pt idx="2">
                  <c:v>2.109</c:v>
                </c:pt>
                <c:pt idx="3">
                  <c:v>0.694</c:v>
                </c:pt>
                <c:pt idx="4">
                  <c:v>0.424</c:v>
                </c:pt>
                <c:pt idx="5">
                  <c:v>11.061</c:v>
                </c:pt>
                <c:pt idx="6">
                  <c:v>0.392</c:v>
                </c:pt>
              </c:numCache>
            </c:numRef>
          </c:yVal>
          <c:bubbleSize>
            <c:numRef>
              <c:f>Sheet1!$C$2:$C$8</c:f>
              <c:numCache>
                <c:formatCode>General</c:formatCode>
                <c:ptCount val="7"/>
                <c:pt idx="0">
                  <c:v>27695220</c:v>
                </c:pt>
                <c:pt idx="1">
                  <c:v>9764061</c:v>
                </c:pt>
                <c:pt idx="2">
                  <c:v>9055836</c:v>
                </c:pt>
                <c:pt idx="3">
                  <c:v>7898680</c:v>
                </c:pt>
                <c:pt idx="4">
                  <c:v>5504728</c:v>
                </c:pt>
                <c:pt idx="5">
                  <c:v>2370126</c:v>
                </c:pt>
                <c:pt idx="6">
                  <c:v>152844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8.0"/>
          <c:min val="5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5FA75E-182D-45CB-9F20-F236896AD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6B4BD9-92D2-4FEB-9D9C-ED9106A8E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EEF2A1-00F0-4C35-936C-4E45616A7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2CFF34-2BAC-4F07-B6B4-FCC2CEE82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A1BA18B-FA08-44B2-A372-D5ABC8706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E91A05-E81A-42F1-A9F5-A4BE3187C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D52B4C-9EF5-406A-AC3E-67D190F267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A26170-AD25-4242-B48F-7AEAD5066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16.5162</c:v>
                </c:pt>
                <c:pt idx="1">
                  <c:v>182.1059</c:v>
                </c:pt>
                <c:pt idx="2">
                  <c:v>163.6695</c:v>
                </c:pt>
                <c:pt idx="3">
                  <c:v>222.3146</c:v>
                </c:pt>
              </c:numCache>
            </c:numRef>
          </c:xVal>
          <c:yVal>
            <c:numRef>
              <c:f>Sheet1!$B$2:$B$5</c:f>
              <c:numCache>
                <c:formatCode>General</c:formatCode>
                <c:ptCount val="4"/>
                <c:pt idx="0">
                  <c:v>0.967</c:v>
                </c:pt>
                <c:pt idx="1">
                  <c:v>0.887</c:v>
                </c:pt>
                <c:pt idx="2">
                  <c:v>0.804</c:v>
                </c:pt>
                <c:pt idx="3">
                  <c:v>3.134</c:v>
                </c:pt>
              </c:numCache>
            </c:numRef>
          </c:yVal>
          <c:bubbleSize>
            <c:numRef>
              <c:f>Sheet1!$C$2:$C$5</c:f>
              <c:numCache>
                <c:formatCode>General</c:formatCode>
                <c:ptCount val="4"/>
                <c:pt idx="0">
                  <c:v>22540199</c:v>
                </c:pt>
                <c:pt idx="1">
                  <c:v>14187871</c:v>
                </c:pt>
                <c:pt idx="2">
                  <c:v>3074204</c:v>
                </c:pt>
                <c:pt idx="3">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7.0"/>
          <c:min val="1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AD84B1-4237-42B0-972A-D9074ECC9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EC0D39-B1E9-4AE4-B7E4-CF5E444B2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164324-09AF-4964-9E62-206705C9C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2CFF81-D655-4D0D-9A7A-1C610B5A5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CD1573-DAB8-40A1-B6BE-88672F1AC0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6F238C-0D6A-4BE3-B051-40C63C77D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D1D383-A5CF-44E3-9EDB-4965061D7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B2D44A-BC3F-4F6E-BD8B-6D5693535D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1.594</c:v>
                </c:pt>
                <c:pt idx="1">
                  <c:v>133.5788</c:v>
                </c:pt>
                <c:pt idx="2">
                  <c:v>114.9379</c:v>
                </c:pt>
                <c:pt idx="3">
                  <c:v>221.8225</c:v>
                </c:pt>
                <c:pt idx="4">
                  <c:v>53.6305</c:v>
                </c:pt>
              </c:numCache>
            </c:numRef>
          </c:xVal>
          <c:yVal>
            <c:numRef>
              <c:f>Sheet1!$B$2:$B$6</c:f>
              <c:numCache>
                <c:formatCode>General</c:formatCode>
                <c:ptCount val="5"/>
                <c:pt idx="0">
                  <c:v>1.17</c:v>
                </c:pt>
                <c:pt idx="1">
                  <c:v>0.761</c:v>
                </c:pt>
                <c:pt idx="2">
                  <c:v>0.997</c:v>
                </c:pt>
                <c:pt idx="3">
                  <c:v>1.778</c:v>
                </c:pt>
                <c:pt idx="4">
                  <c:v>0.395</c:v>
                </c:pt>
              </c:numCache>
            </c:numRef>
          </c:yVal>
          <c:bubbleSize>
            <c:numRef>
              <c:f>Sheet1!$C$2:$C$6</c:f>
              <c:numCache>
                <c:formatCode>General</c:formatCode>
                <c:ptCount val="5"/>
                <c:pt idx="0">
                  <c:v>9270165</c:v>
                </c:pt>
                <c:pt idx="1">
                  <c:v>7397860</c:v>
                </c:pt>
                <c:pt idx="2">
                  <c:v>4436603</c:v>
                </c:pt>
                <c:pt idx="3">
                  <c:v>438765</c:v>
                </c:pt>
                <c:pt idx="4">
                  <c:v>28402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66.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825D78-6203-4456-9D02-2D171A079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612CF0-2535-4E64-AC68-10F27FDDDC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48E2DD-4446-4F74-A569-8DF601FD7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DDA281-FAEA-4949-B375-221721EB3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E34785-B2AA-4069-9BCB-BEB04A0076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77719F-474C-4B9B-BCFB-C719ECED3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97DA3A-C17D-4EA5-8CF3-A83E4D0E5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5FAC34-0905-4B55-9BAC-9BE313E95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9113</c:v>
                </c:pt>
                <c:pt idx="1">
                  <c:v>169.8439</c:v>
                </c:pt>
                <c:pt idx="2">
                  <c:v>136.4699</c:v>
                </c:pt>
                <c:pt idx="3">
                  <c:v>603.704</c:v>
                </c:pt>
                <c:pt idx="4">
                  <c:v>555.2816</c:v>
                </c:pt>
                <c:pt idx="5">
                  <c:v>513.7652</c:v>
                </c:pt>
              </c:numCache>
            </c:numRef>
          </c:xVal>
          <c:yVal>
            <c:numRef>
              <c:f>Sheet1!$B$2:$B$7</c:f>
              <c:numCache>
                <c:formatCode>General</c:formatCode>
                <c:ptCount val="6"/>
                <c:pt idx="0">
                  <c:v>1.109</c:v>
                </c:pt>
                <c:pt idx="1">
                  <c:v>0.545</c:v>
                </c:pt>
                <c:pt idx="2">
                  <c:v>0.332</c:v>
                </c:pt>
                <c:pt idx="3">
                  <c:v>1.932</c:v>
                </c:pt>
                <c:pt idx="4">
                  <c:v>9.227</c:v>
                </c:pt>
                <c:pt idx="5">
                  <c:v>8.566</c:v>
                </c:pt>
              </c:numCache>
            </c:numRef>
          </c:yVal>
          <c:bubbleSize>
            <c:numRef>
              <c:f>Sheet1!$C$2:$C$7</c:f>
              <c:numCache>
                <c:formatCode>General</c:formatCode>
                <c:ptCount val="6"/>
                <c:pt idx="0">
                  <c:v>10553829</c:v>
                </c:pt>
                <c:pt idx="1">
                  <c:v>1178207</c:v>
                </c:pt>
                <c:pt idx="2">
                  <c:v>940414</c:v>
                </c:pt>
                <c:pt idx="3">
                  <c:v>868730</c:v>
                </c:pt>
                <c:pt idx="4">
                  <c:v>865684</c:v>
                </c:pt>
                <c:pt idx="5">
                  <c:v>77013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4.0"/>
          <c:min val="10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3C8E04-B9D6-41A7-8965-333A4F9CC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DBFA8F-096E-4BB0-A696-7FAF9CA38C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4793034-7CB7-4DAA-B320-295661A91E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919B22-5D36-4ECD-85F5-2DBCF23F4D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821C97-FF6B-4CC3-9661-894B44FAC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E62580-BBD5-4BCF-A80A-6E27E0D93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BCF583-16E4-4ECE-AB8A-F9F32FA44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F13E20-3ED8-472F-9ACC-FF9122A92B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4.841</c:v>
                </c:pt>
                <c:pt idx="1">
                  <c:v>613.1876</c:v>
                </c:pt>
                <c:pt idx="2">
                  <c:v>587.8717</c:v>
                </c:pt>
                <c:pt idx="3">
                  <c:v>525.4558</c:v>
                </c:pt>
                <c:pt idx="4">
                  <c:v>314.7817</c:v>
                </c:pt>
                <c:pt idx="5">
                  <c:v>605.6221</c:v>
                </c:pt>
                <c:pt idx="6">
                  <c:v>268.7677</c:v>
                </c:pt>
              </c:numCache>
            </c:numRef>
          </c:xVal>
          <c:yVal>
            <c:numRef>
              <c:f>Sheet1!$B$2:$B$8</c:f>
              <c:numCache>
                <c:formatCode>General</c:formatCode>
                <c:ptCount val="7"/>
                <c:pt idx="0">
                  <c:v>0.522</c:v>
                </c:pt>
                <c:pt idx="1">
                  <c:v>2.402</c:v>
                </c:pt>
                <c:pt idx="2">
                  <c:v>2.154</c:v>
                </c:pt>
                <c:pt idx="3">
                  <c:v>1.159</c:v>
                </c:pt>
                <c:pt idx="4">
                  <c:v>1.03</c:v>
                </c:pt>
                <c:pt idx="5">
                  <c:v>0.0</c:v>
                </c:pt>
                <c:pt idx="6">
                  <c:v>0.526</c:v>
                </c:pt>
              </c:numCache>
            </c:numRef>
          </c:yVal>
          <c:bubbleSize>
            <c:numRef>
              <c:f>Sheet1!$C$2:$C$8</c:f>
              <c:numCache>
                <c:formatCode>General</c:formatCode>
                <c:ptCount val="7"/>
                <c:pt idx="0">
                  <c:v>1312348</c:v>
                </c:pt>
                <c:pt idx="1">
                  <c:v>1019731</c:v>
                </c:pt>
                <c:pt idx="2">
                  <c:v>888862</c:v>
                </c:pt>
                <c:pt idx="3">
                  <c:v>273237</c:v>
                </c:pt>
                <c:pt idx="4">
                  <c:v>230735</c:v>
                </c:pt>
                <c:pt idx="5">
                  <c:v>104167</c:v>
                </c:pt>
                <c:pt idx="6">
                  <c:v>682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19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6BE0AA-346D-43FC-9186-4A10E4007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C3D015-85CB-4377-94A3-B5709DD61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7B0CD9A-6A1C-495F-A42B-A7B43FBF0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B975CD-B446-48F8-B7B6-061F6AFB9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F3D548-9291-4F39-8C7F-3B351EA12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A150C6-5546-47A2-8814-CBC315261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8F0278-FD9C-40F3-B51C-5BDA6D0FF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36A41C-6229-4F67-8654-4D297C441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79.1474</c:v>
                </c:pt>
                <c:pt idx="1">
                  <c:v>286.0022</c:v>
                </c:pt>
                <c:pt idx="2">
                  <c:v>288.7124</c:v>
                </c:pt>
              </c:numCache>
            </c:numRef>
          </c:xVal>
          <c:yVal>
            <c:numRef>
              <c:f>Sheet1!$B$2:$B$4</c:f>
              <c:numCache>
                <c:formatCode>General</c:formatCode>
                <c:ptCount val="3"/>
                <c:pt idx="0">
                  <c:v>0.956</c:v>
                </c:pt>
                <c:pt idx="1">
                  <c:v>1.014</c:v>
                </c:pt>
                <c:pt idx="2">
                  <c:v>1.004</c:v>
                </c:pt>
              </c:numCache>
            </c:numRef>
          </c:yVal>
          <c:bubbleSize>
            <c:numRef>
              <c:f>Sheet1!$C$2:$C$4</c:f>
              <c:numCache>
                <c:formatCode>General</c:formatCode>
                <c:ptCount val="3"/>
                <c:pt idx="0">
                  <c:v>8640450</c:v>
                </c:pt>
                <c:pt idx="1">
                  <c:v>8037806</c:v>
                </c:pt>
                <c:pt idx="2">
                  <c:v>728190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6.0"/>
          <c:min val="2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699</c:v>
                </c:pt>
                <c:pt idx="5">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5.09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3.57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68.10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57.1364</c:v>
                </c:pt>
                <c:pt idx="3">
                  <c:v>304.42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49.982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599.602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8582</c:v>
                </c:pt>
                <c:pt idx="3">
                  <c:v>303.4611</c:v>
                </c:pt>
                <c:pt idx="6">
                  <c:v>244.700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1.7299</c:v>
                </c:pt>
                <c:pt idx="2">
                  <c:v>582.9502</c:v>
                </c:pt>
                <c:pt idx="4">
                  <c:v>549.832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B$2:$B$8</c:f>
              <c:numCache>
                <c:formatCode>General</c:formatCode>
                <c:ptCount val="7"/>
                <c:pt idx="1">
                  <c:v>185.3812</c:v>
                </c:pt>
                <c:pt idx="2">
                  <c:v>227.1893</c:v>
                </c:pt>
                <c:pt idx="5">
                  <c:v>74.7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C$2:$C$8</c:f>
              <c:numCache>
                <c:formatCode>General</c:formatCode>
                <c:ptCount val="7"/>
                <c:pt idx="0">
                  <c:v>176.5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D$2:$D$8</c:f>
              <c:numCache>
                <c:formatCode>General</c:formatCode>
                <c:ptCount val="7"/>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E$2:$E$8</c:f>
              <c:numCache>
                <c:formatCode>General</c:formatCode>
                <c:ptCount val="7"/>
                <c:pt idx="1">
                  <c:v>261.857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F$2:$F$8</c:f>
              <c:numCache>
                <c:formatCode>General</c:formatCode>
                <c:ptCount val="7"/>
                <c:pt idx="0">
                  <c:v>255.9147</c:v>
                </c:pt>
                <c:pt idx="2">
                  <c:v>302.36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G$2:$G$8</c:f>
              <c:numCache>
                <c:formatCode>General</c:formatCode>
                <c:ptCount val="7"/>
                <c:pt idx="1">
                  <c:v>253.3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H$2:$H$8</c:f>
              <c:numCache>
                <c:formatCode>General</c:formatCode>
                <c:ptCount val="7"/>
                <c:pt idx="3">
                  <c:v>598.29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I$2:$I$8</c:f>
              <c:numCache>
                <c:formatCode>General</c:formatCode>
                <c:ptCount val="7"/>
                <c:pt idx="0">
                  <c:v>246.4749</c:v>
                </c:pt>
                <c:pt idx="2">
                  <c:v>301.1519</c:v>
                </c:pt>
                <c:pt idx="6">
                  <c:v>239.925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J$2:$J$8</c:f>
              <c:numCache>
                <c:formatCode>General</c:formatCode>
                <c:ptCount val="7"/>
                <c:pt idx="0">
                  <c:v>229.9332</c:v>
                </c:pt>
                <c:pt idx="3">
                  <c:v>605.5393</c:v>
                </c:pt>
                <c:pt idx="4">
                  <c:v>596.585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K$2:$K$8</c:f>
              <c:numCache>
                <c:formatCode>General</c:formatCode>
                <c:ptCount val="7"/>
                <c:pt idx="1">
                  <c:v>101.042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L$2:$L$8</c:f>
              <c:numCache>
                <c:formatCode>General</c:formatCode>
                <c:ptCount val="7"/>
                <c:pt idx="1">
                  <c:v>96.2797</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B$2:$B$8</c:f>
              <c:numCache>
                <c:formatCode>General</c:formatCode>
                <c:ptCount val="7"/>
                <c:pt idx="0">
                  <c:v>174.97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C$2:$C$8</c:f>
              <c:numCache>
                <c:formatCode>General</c:formatCode>
                <c:ptCount val="7"/>
                <c:pt idx="0">
                  <c:v>257.781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D$2:$D$8</c:f>
              <c:numCache>
                <c:formatCode>General</c:formatCode>
                <c:ptCount val="7"/>
                <c:pt idx="2">
                  <c:v>256.49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E$2:$E$8</c:f>
              <c:numCache>
                <c:formatCode>General</c:formatCode>
                <c:ptCount val="7"/>
                <c:pt idx="0">
                  <c:v>257.11</c:v>
                </c:pt>
                <c:pt idx="4">
                  <c:v>311.43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F$2:$F$8</c:f>
              <c:numCache>
                <c:formatCode>General</c:formatCode>
                <c:ptCount val="7"/>
                <c:pt idx="2">
                  <c:v>248.40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G$2:$G$8</c:f>
              <c:numCache>
                <c:formatCode>General</c:formatCode>
                <c:ptCount val="7"/>
                <c:pt idx="1">
                  <c:v>584.03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H$2:$H$8</c:f>
              <c:numCache>
                <c:formatCode>General</c:formatCode>
                <c:ptCount val="7"/>
                <c:pt idx="0">
                  <c:v>242.1233</c:v>
                </c:pt>
                <c:pt idx="4">
                  <c:v>304.4008</c:v>
                </c:pt>
                <c:pt idx="5">
                  <c:v>439.8846</c:v>
                </c:pt>
                <c:pt idx="6">
                  <c:v>252.674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I$2:$I$8</c:f>
              <c:numCache>
                <c:formatCode>General</c:formatCode>
                <c:ptCount val="7"/>
                <c:pt idx="0">
                  <c:v>234.9959</c:v>
                </c:pt>
                <c:pt idx="1">
                  <c:v>554.5367</c:v>
                </c:pt>
                <c:pt idx="3">
                  <c:v>529.6068</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B$2:$B$7</c:f>
              <c:numCache>
                <c:formatCode>General</c:formatCode>
                <c:ptCount val="6"/>
                <c:pt idx="4">
                  <c:v>73.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C$2:$C$7</c:f>
              <c:numCache>
                <c:formatCode>General</c:formatCode>
                <c:ptCount val="6"/>
                <c:pt idx="0">
                  <c:v>180.23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D$2:$D$7</c:f>
              <c:numCache>
                <c:formatCode>General</c:formatCode>
                <c:ptCount val="6"/>
                <c:pt idx="0">
                  <c:v>234.5583</c:v>
                </c:pt>
                <c:pt idx="3">
                  <c:v>90.29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E$2:$E$7</c:f>
              <c:numCache>
                <c:formatCode>General</c:formatCode>
                <c:ptCount val="6"/>
                <c:pt idx="1">
                  <c:v>253.22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F$2:$F$7</c:f>
              <c:numCache>
                <c:formatCode>General</c:formatCode>
                <c:ptCount val="6"/>
                <c:pt idx="0">
                  <c:v>252.4741</c:v>
                </c:pt>
                <c:pt idx="2">
                  <c:v>282.89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G$2:$G$7</c:f>
              <c:numCache>
                <c:formatCode>General</c:formatCode>
                <c:ptCount val="6"/>
                <c:pt idx="1">
                  <c:v>272.65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H$2:$H$7</c:f>
              <c:numCache>
                <c:formatCode>General</c:formatCode>
                <c:ptCount val="6"/>
                <c:pt idx="1">
                  <c:v>239.2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I$2:$I$7</c:f>
              <c:numCache>
                <c:formatCode>General</c:formatCode>
                <c:ptCount val="6"/>
                <c:pt idx="0">
                  <c:v>249.0713</c:v>
                </c:pt>
                <c:pt idx="2">
                  <c:v>304.6435</c:v>
                </c:pt>
                <c:pt idx="5">
                  <c:v>245.5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J$2:$J$7</c:f>
              <c:numCache>
                <c:formatCode>General</c:formatCode>
                <c:ptCount val="6"/>
                <c:pt idx="0">
                  <c:v>227.931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2254</c:v>
                </c:pt>
                <c:pt idx="5">
                  <c:v>74.44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6.15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4.321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70.297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56.2055</c:v>
                </c:pt>
                <c:pt idx="3">
                  <c:v>305.26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51.11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2">
                  <c:v>609.59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0">
                  <c:v>245.9619</c:v>
                </c:pt>
                <c:pt idx="3">
                  <c:v>301.4795</c:v>
                </c:pt>
                <c:pt idx="6">
                  <c:v>240.364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29.5664</c:v>
                </c:pt>
                <c:pt idx="2">
                  <c:v>601.1752</c:v>
                </c:pt>
                <c:pt idx="4">
                  <c:v>575.737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B$2:$B$9</c:f>
              <c:numCache>
                <c:formatCode>General</c:formatCode>
                <c:ptCount val="8"/>
                <c:pt idx="1">
                  <c:v>182.7327</c:v>
                </c:pt>
                <c:pt idx="5">
                  <c:v>74.82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C$2:$C$9</c:f>
              <c:numCache>
                <c:formatCode>General</c:formatCode>
                <c:ptCount val="8"/>
                <c:pt idx="0">
                  <c:v>177.1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D$2:$D$9</c:f>
              <c:numCache>
                <c:formatCode>General</c:formatCode>
                <c:ptCount val="8"/>
                <c:pt idx="0">
                  <c:v>263.8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E$2:$E$9</c:f>
              <c:numCache>
                <c:formatCode>General</c:formatCode>
                <c:ptCount val="8"/>
                <c:pt idx="1">
                  <c:v>287.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F$2:$F$9</c:f>
              <c:numCache>
                <c:formatCode>General</c:formatCode>
                <c:ptCount val="8"/>
                <c:pt idx="0">
                  <c:v>261.0466</c:v>
                </c:pt>
                <c:pt idx="3">
                  <c:v>312.66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G$2:$G$9</c:f>
              <c:numCache>
                <c:formatCode>General</c:formatCode>
                <c:ptCount val="8"/>
                <c:pt idx="1">
                  <c:v>284.77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H$2:$H$9</c:f>
              <c:numCache>
                <c:formatCode>General</c:formatCode>
                <c:ptCount val="8"/>
                <c:pt idx="1">
                  <c:v>256.327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I$2:$I$9</c:f>
              <c:numCache>
                <c:formatCode>General</c:formatCode>
                <c:ptCount val="8"/>
                <c:pt idx="2">
                  <c:v>608.715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J$2:$J$9</c:f>
              <c:numCache>
                <c:formatCode>General</c:formatCode>
                <c:ptCount val="8"/>
                <c:pt idx="0">
                  <c:v>245.4048</c:v>
                </c:pt>
                <c:pt idx="3">
                  <c:v>304.6008</c:v>
                </c:pt>
                <c:pt idx="6">
                  <c:v>194.9897</c:v>
                </c:pt>
                <c:pt idx="7">
                  <c:v>247.452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K$2:$K$9</c:f>
              <c:numCache>
                <c:formatCode>General</c:formatCode>
                <c:ptCount val="8"/>
                <c:pt idx="0">
                  <c:v>234.6623</c:v>
                </c:pt>
                <c:pt idx="2">
                  <c:v>592.2389</c:v>
                </c:pt>
                <c:pt idx="4">
                  <c:v>561.259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Nuvel</c:v>
                </c:pt>
                <c:pt idx="6">
                  <c:v>Garnier</c:v>
                </c:pt>
                <c:pt idx="7">
                  <c:v>Loreal Paris</c:v>
                </c:pt>
              </c:strCache>
            </c:strRef>
          </c:cat>
          <c:val>
            <c:numRef>
              <c:f>Sheet1!$L$2:$L$9</c:f>
              <c:numCache>
                <c:formatCode>General</c:formatCode>
                <c:ptCount val="8"/>
                <c:pt idx="1">
                  <c:v>96.577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B$2:$B$8</c:f>
              <c:numCache>
                <c:formatCode>General</c:formatCode>
                <c:ptCount val="7"/>
                <c:pt idx="0">
                  <c:v>166.5216</c:v>
                </c:pt>
                <c:pt idx="3">
                  <c:v>122.81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C$2:$C$8</c:f>
              <c:numCache>
                <c:formatCode>General</c:formatCode>
                <c:ptCount val="7"/>
                <c:pt idx="0">
                  <c:v>270.784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D$2:$D$8</c:f>
              <c:numCache>
                <c:formatCode>General</c:formatCode>
                <c:ptCount val="7"/>
                <c:pt idx="1">
                  <c:v>284.40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E$2:$E$8</c:f>
              <c:numCache>
                <c:formatCode>General</c:formatCode>
                <c:ptCount val="7"/>
                <c:pt idx="0">
                  <c:v>265.2339</c:v>
                </c:pt>
                <c:pt idx="2">
                  <c:v>316.80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F$2:$F$8</c:f>
              <c:numCache>
                <c:formatCode>General</c:formatCode>
                <c:ptCount val="7"/>
                <c:pt idx="1">
                  <c:v>280.03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G$2:$G$8</c:f>
              <c:numCache>
                <c:formatCode>General</c:formatCode>
                <c:ptCount val="7"/>
                <c:pt idx="1">
                  <c:v>253.993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H$2:$H$8</c:f>
              <c:numCache>
                <c:formatCode>General</c:formatCode>
                <c:ptCount val="7"/>
                <c:pt idx="0">
                  <c:v>247.2421</c:v>
                </c:pt>
                <c:pt idx="2">
                  <c:v>308.5357</c:v>
                </c:pt>
                <c:pt idx="6">
                  <c:v>246.61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I$2:$I$8</c:f>
              <c:numCache>
                <c:formatCode>General</c:formatCode>
                <c:ptCount val="7"/>
                <c:pt idx="0">
                  <c:v>234.9486</c:v>
                </c:pt>
                <c:pt idx="4">
                  <c:v>615.4724</c:v>
                </c:pt>
                <c:pt idx="5">
                  <c:v>554.011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E6BF16-9315-4754-8D57-474BD25DB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CFAE30-59EA-4A5D-B9E2-D0889B544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735C10-89C2-4071-BC3A-F7A251C4A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EFEA1C-9AEA-41C3-B9C3-DF87E4C04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D3A8E9-E2BD-4661-8DF6-39E464F54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C7BF34-2D93-4D68-97CB-EFA310435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118B80-3F09-4E1D-99EF-8D195E96C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DD35F0-9B8C-4322-B457-2EFC2679B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715</c:v>
                </c:pt>
                <c:pt idx="1">
                  <c:v>196.1032</c:v>
                </c:pt>
                <c:pt idx="2">
                  <c:v>221.018</c:v>
                </c:pt>
                <c:pt idx="3">
                  <c:v>291.0402</c:v>
                </c:pt>
                <c:pt idx="4">
                  <c:v>591.1292</c:v>
                </c:pt>
                <c:pt idx="5">
                  <c:v>84.5439</c:v>
                </c:pt>
                <c:pt idx="6">
                  <c:v>569.417</c:v>
                </c:pt>
                <c:pt idx="7">
                  <c:v>592.0093</c:v>
                </c:pt>
              </c:numCache>
            </c:numRef>
          </c:xVal>
          <c:yVal>
            <c:numRef>
              <c:f>Sheet1!$B$2:$B$9</c:f>
              <c:numCache>
                <c:formatCode>General</c:formatCode>
                <c:ptCount val="8"/>
                <c:pt idx="0">
                  <c:v>1.023</c:v>
                </c:pt>
                <c:pt idx="1">
                  <c:v>0.738</c:v>
                </c:pt>
                <c:pt idx="2">
                  <c:v>0.718</c:v>
                </c:pt>
                <c:pt idx="3">
                  <c:v>1.977</c:v>
                </c:pt>
                <c:pt idx="4">
                  <c:v>4.114</c:v>
                </c:pt>
                <c:pt idx="5">
                  <c:v>0.396</c:v>
                </c:pt>
                <c:pt idx="6">
                  <c:v>4.773</c:v>
                </c:pt>
                <c:pt idx="7">
                  <c:v>6.613</c:v>
                </c:pt>
              </c:numCache>
            </c:numRef>
          </c:yVal>
          <c:bubbleSize>
            <c:numRef>
              <c:f>Sheet1!$C$2:$C$9</c:f>
              <c:numCache>
                <c:formatCode>General</c:formatCode>
                <c:ptCount val="8"/>
                <c:pt idx="0">
                  <c:v>111274571</c:v>
                </c:pt>
                <c:pt idx="1">
                  <c:v>54283907</c:v>
                </c:pt>
                <c:pt idx="2">
                  <c:v>39712741</c:v>
                </c:pt>
                <c:pt idx="3">
                  <c:v>28036189</c:v>
                </c:pt>
                <c:pt idx="4">
                  <c:v>25478849</c:v>
                </c:pt>
                <c:pt idx="5">
                  <c:v>13021033</c:v>
                </c:pt>
                <c:pt idx="6">
                  <c:v>9237082</c:v>
                </c:pt>
                <c:pt idx="7">
                  <c:v>70093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699</c:v>
                </c:pt>
                <c:pt idx="5">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5.09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3.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68.10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62.1006</c:v>
                </c:pt>
                <c:pt idx="3">
                  <c:v>304.42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70.042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57.93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599.602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8582</c:v>
                </c:pt>
                <c:pt idx="3">
                  <c:v>306.6436</c:v>
                </c:pt>
                <c:pt idx="6">
                  <c:v>247.205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1.7299</c:v>
                </c:pt>
                <c:pt idx="2">
                  <c:v>582.9502</c:v>
                </c:pt>
                <c:pt idx="4">
                  <c:v>566.588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L$2:$L$8</c:f>
              <c:numCache>
                <c:formatCode>General</c:formatCode>
                <c:ptCount val="7"/>
                <c:pt idx="1">
                  <c:v>96.260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Vichy</c:v>
                </c:pt>
                <c:pt idx="1">
                  <c:v>Neutrogena</c:v>
                </c:pt>
                <c:pt idx="2">
                  <c:v>Photoderm</c:v>
                </c:pt>
                <c:pt idx="3">
                  <c:v>Others Marca Unif.</c:v>
                </c:pt>
                <c:pt idx="4">
                  <c:v>Loreal Paris</c:v>
                </c:pt>
              </c:strCache>
            </c:strRef>
          </c:cat>
          <c:val>
            <c:numRef>
              <c:f>Sheet1!$B$2:$B$6</c:f>
              <c:numCache>
                <c:formatCode>General</c:formatCode>
                <c:ptCount val="5"/>
                <c:pt idx="3">
                  <c:v>166.47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Vichy</c:v>
                </c:pt>
                <c:pt idx="1">
                  <c:v>Neutrogena</c:v>
                </c:pt>
                <c:pt idx="2">
                  <c:v>Photoderm</c:v>
                </c:pt>
                <c:pt idx="3">
                  <c:v>Others Marca Unif.</c:v>
                </c:pt>
                <c:pt idx="4">
                  <c:v>Loreal Paris</c:v>
                </c:pt>
              </c:strCache>
            </c:strRef>
          </c:cat>
          <c:val>
            <c:numRef>
              <c:f>Sheet1!$C$2:$C$6</c:f>
              <c:numCache>
                <c:formatCode>General</c:formatCode>
                <c:ptCount val="5"/>
                <c:pt idx="0">
                  <c:v>742.84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1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Others Marca Unif.</c:v>
                </c:pt>
                <c:pt idx="4">
                  <c:v>Loreal Paris</c:v>
                </c:pt>
              </c:strCache>
            </c:strRef>
          </c:cat>
          <c:val>
            <c:numRef>
              <c:f>Sheet1!$D$2:$D$6</c:f>
              <c:numCache>
                <c:formatCode>General</c:formatCode>
                <c:ptCount val="5"/>
                <c:pt idx="0">
                  <c:v>661.44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21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Others Marca Unif.</c:v>
                </c:pt>
                <c:pt idx="4">
                  <c:v>Loreal Paris</c:v>
                </c:pt>
              </c:strCache>
            </c:strRef>
          </c:cat>
          <c:val>
            <c:numRef>
              <c:f>Sheet1!$E$2:$E$6</c:f>
              <c:numCache>
                <c:formatCode>General</c:formatCode>
                <c:ptCount val="5"/>
                <c:pt idx="0">
                  <c:v>706.13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Vichy</c:v>
                </c:pt>
                <c:pt idx="1">
                  <c:v>Neutrogena</c:v>
                </c:pt>
                <c:pt idx="2">
                  <c:v>Photoderm</c:v>
                </c:pt>
                <c:pt idx="3">
                  <c:v>Others Marca Unif.</c:v>
                </c:pt>
                <c:pt idx="4">
                  <c:v>Loreal Paris</c:v>
                </c:pt>
              </c:strCache>
            </c:strRef>
          </c:cat>
          <c:val>
            <c:numRef>
              <c:f>Sheet1!$F$2:$F$6</c:f>
              <c:numCache>
                <c:formatCode>General</c:formatCode>
                <c:ptCount val="5"/>
                <c:pt idx="0">
                  <c:v>497.049</c:v>
                </c:pt>
                <c:pt idx="1">
                  <c:v>166.6178</c:v>
                </c:pt>
                <c:pt idx="2">
                  <c:v>306.5807</c:v>
                </c:pt>
                <c:pt idx="4">
                  <c:v>168.465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59.392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1">
                  <c:v>136.53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Others Marca Unif.</c:v>
                </c:pt>
              </c:strCache>
            </c:strRef>
          </c:cat>
          <c:val>
            <c:numRef>
              <c:f>Sheet1!$C$2:$C$3</c:f>
              <c:numCache>
                <c:formatCode>General</c:formatCode>
                <c:ptCount val="2"/>
                <c:pt idx="1">
                  <c:v>168.09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D$2:$D$3</c:f>
              <c:numCache>
                <c:formatCode>General</c:formatCode>
                <c:ptCount val="2"/>
                <c:pt idx="0">
                  <c:v>114.94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E$2:$E$3</c:f>
              <c:numCache>
                <c:formatCode>General</c:formatCode>
                <c:ptCount val="2"/>
                <c:pt idx="1">
                  <c:v>75.9635</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B$2:$B$8</c:f>
              <c:numCache>
                <c:formatCode>General</c:formatCode>
                <c:ptCount val="7"/>
                <c:pt idx="1">
                  <c:v>185.3812</c:v>
                </c:pt>
                <c:pt idx="2">
                  <c:v>227.1893</c:v>
                </c:pt>
                <c:pt idx="5">
                  <c:v>74.7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C$2:$C$8</c:f>
              <c:numCache>
                <c:formatCode>General</c:formatCode>
                <c:ptCount val="7"/>
                <c:pt idx="0">
                  <c:v>176.5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D$2:$D$8</c:f>
              <c:numCache>
                <c:formatCode>General</c:formatCode>
                <c:ptCount val="7"/>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E$2:$E$8</c:f>
              <c:numCache>
                <c:formatCode>General</c:formatCode>
                <c:ptCount val="7"/>
                <c:pt idx="1">
                  <c:v>261.84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F$2:$F$8</c:f>
              <c:numCache>
                <c:formatCode>General</c:formatCode>
                <c:ptCount val="7"/>
                <c:pt idx="0">
                  <c:v>260.3074</c:v>
                </c:pt>
                <c:pt idx="2">
                  <c:v>302.36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G$2:$G$8</c:f>
              <c:numCache>
                <c:formatCode>General</c:formatCode>
                <c:ptCount val="7"/>
                <c:pt idx="1">
                  <c:v>259.08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H$2:$H$8</c:f>
              <c:numCache>
                <c:formatCode>General</c:formatCode>
                <c:ptCount val="7"/>
                <c:pt idx="3">
                  <c:v>598.29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I$2:$I$8</c:f>
              <c:numCache>
                <c:formatCode>General</c:formatCode>
                <c:ptCount val="7"/>
                <c:pt idx="0">
                  <c:v>246.4749</c:v>
                </c:pt>
                <c:pt idx="2">
                  <c:v>304.1184</c:v>
                </c:pt>
                <c:pt idx="6">
                  <c:v>243.01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J$2:$J$8</c:f>
              <c:numCache>
                <c:formatCode>General</c:formatCode>
                <c:ptCount val="7"/>
                <c:pt idx="0">
                  <c:v>229.9332</c:v>
                </c:pt>
                <c:pt idx="3">
                  <c:v>605.5393</c:v>
                </c:pt>
                <c:pt idx="4">
                  <c:v>598.62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K$2:$K$8</c:f>
              <c:numCache>
                <c:formatCode>General</c:formatCode>
                <c:ptCount val="7"/>
                <c:pt idx="1">
                  <c:v>101.042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Nuvel</c:v>
                </c:pt>
                <c:pt idx="6">
                  <c:v>Loreal Paris</c:v>
                </c:pt>
              </c:strCache>
            </c:strRef>
          </c:cat>
          <c:val>
            <c:numRef>
              <c:f>Sheet1!$L$2:$L$8</c:f>
              <c:numCache>
                <c:formatCode>General</c:formatCode>
                <c:ptCount val="7"/>
                <c:pt idx="1">
                  <c:v>96.2797</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Loreal Paris</c:v>
                </c:pt>
                <c:pt idx="2">
                  <c:v>Vichy</c:v>
                </c:pt>
                <c:pt idx="3">
                  <c:v>Others Marca Unif.</c:v>
                </c:pt>
                <c:pt idx="4">
                  <c:v>Photoderm</c:v>
                </c:pt>
                <c:pt idx="5">
                  <c:v>Nivea</c:v>
                </c:pt>
              </c:strCache>
            </c:strRef>
          </c:cat>
          <c:val>
            <c:numRef>
              <c:f>Sheet1!$B$2:$B$7</c:f>
              <c:numCache>
                <c:formatCode>General</c:formatCode>
                <c:ptCount val="6"/>
                <c:pt idx="3">
                  <c:v>165.9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eutrogena</c:v>
                </c:pt>
                <c:pt idx="1">
                  <c:v>Loreal Paris</c:v>
                </c:pt>
                <c:pt idx="2">
                  <c:v>Vichy</c:v>
                </c:pt>
                <c:pt idx="3">
                  <c:v>Others Marca Unif.</c:v>
                </c:pt>
                <c:pt idx="4">
                  <c:v>Photoderm</c:v>
                </c:pt>
                <c:pt idx="5">
                  <c:v>Nivea</c:v>
                </c:pt>
              </c:strCache>
            </c:strRef>
          </c:cat>
          <c:val>
            <c:numRef>
              <c:f>Sheet1!$C$2:$C$7</c:f>
              <c:numCache>
                <c:formatCode>General</c:formatCode>
                <c:ptCount val="6"/>
                <c:pt idx="3">
                  <c:v>400.928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06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Loreal Paris</c:v>
                </c:pt>
                <c:pt idx="2">
                  <c:v>Vichy</c:v>
                </c:pt>
                <c:pt idx="3">
                  <c:v>Others Marca Unif.</c:v>
                </c:pt>
                <c:pt idx="4">
                  <c:v>Photoderm</c:v>
                </c:pt>
                <c:pt idx="5">
                  <c:v>Nivea</c:v>
                </c:pt>
              </c:strCache>
            </c:strRef>
          </c:cat>
          <c:val>
            <c:numRef>
              <c:f>Sheet1!$D$2:$D$7</c:f>
              <c:numCache>
                <c:formatCode>General</c:formatCode>
                <c:ptCount val="6"/>
                <c:pt idx="2">
                  <c:v>623.55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Loreal Paris</c:v>
                </c:pt>
                <c:pt idx="2">
                  <c:v>Vichy</c:v>
                </c:pt>
                <c:pt idx="3">
                  <c:v>Others Marca Unif.</c:v>
                </c:pt>
                <c:pt idx="4">
                  <c:v>Photoderm</c:v>
                </c:pt>
                <c:pt idx="5">
                  <c:v>Nivea</c:v>
                </c:pt>
              </c:strCache>
            </c:strRef>
          </c:cat>
          <c:val>
            <c:numRef>
              <c:f>Sheet1!$E$2:$E$7</c:f>
              <c:numCache>
                <c:formatCode>General</c:formatCode>
                <c:ptCount val="6"/>
                <c:pt idx="5">
                  <c:v>356.051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eutrogena</c:v>
                </c:pt>
                <c:pt idx="1">
                  <c:v>Loreal Paris</c:v>
                </c:pt>
                <c:pt idx="2">
                  <c:v>Vichy</c:v>
                </c:pt>
                <c:pt idx="3">
                  <c:v>Others Marca Unif.</c:v>
                </c:pt>
                <c:pt idx="4">
                  <c:v>Photoderm</c:v>
                </c:pt>
                <c:pt idx="5">
                  <c:v>Nivea</c:v>
                </c:pt>
              </c:strCache>
            </c:strRef>
          </c:cat>
          <c:val>
            <c:numRef>
              <c:f>Sheet1!$F$2:$F$7</c:f>
              <c:numCache>
                <c:formatCode>General</c:formatCode>
                <c:ptCount val="6"/>
                <c:pt idx="0">
                  <c:v>177.9471</c:v>
                </c:pt>
                <c:pt idx="1">
                  <c:v>169.4252</c:v>
                </c:pt>
                <c:pt idx="2">
                  <c:v>394.7386</c:v>
                </c:pt>
                <c:pt idx="4">
                  <c:v>453.32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Loreal Paris</c:v>
                </c:pt>
                <c:pt idx="2">
                  <c:v>Vichy</c:v>
                </c:pt>
                <c:pt idx="3">
                  <c:v>Others Marca Unif.</c:v>
                </c:pt>
                <c:pt idx="4">
                  <c:v>Photoderm</c:v>
                </c:pt>
                <c:pt idx="5">
                  <c:v>Nivea</c:v>
                </c:pt>
              </c:strCache>
            </c:strRef>
          </c:cat>
          <c:val>
            <c:numRef>
              <c:f>Sheet1!$G$2:$G$7</c:f>
              <c:numCache>
                <c:formatCode>General</c:formatCode>
                <c:ptCount val="6"/>
                <c:pt idx="2">
                  <c:v>359.544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B$2:$B$8</c:f>
              <c:numCache>
                <c:formatCode>General</c:formatCode>
                <c:ptCount val="7"/>
                <c:pt idx="2">
                  <c:v>179.09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C$2:$C$8</c:f>
              <c:numCache>
                <c:formatCode>General</c:formatCode>
                <c:ptCount val="7"/>
                <c:pt idx="0">
                  <c:v>174.97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D$2:$D$8</c:f>
              <c:numCache>
                <c:formatCode>General</c:formatCode>
                <c:ptCount val="7"/>
                <c:pt idx="0">
                  <c:v>257.78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E$2:$E$8</c:f>
              <c:numCache>
                <c:formatCode>General</c:formatCode>
                <c:ptCount val="7"/>
                <c:pt idx="2">
                  <c:v>256.49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F$2:$F$8</c:f>
              <c:numCache>
                <c:formatCode>General</c:formatCode>
                <c:ptCount val="7"/>
                <c:pt idx="0">
                  <c:v>261.5206</c:v>
                </c:pt>
                <c:pt idx="4">
                  <c:v>311.43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G$2:$G$8</c:f>
              <c:numCache>
                <c:formatCode>General</c:formatCode>
                <c:ptCount val="7"/>
                <c:pt idx="2">
                  <c:v>254.846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H$2:$H$8</c:f>
              <c:numCache>
                <c:formatCode>General</c:formatCode>
                <c:ptCount val="7"/>
                <c:pt idx="1">
                  <c:v>584.030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I$2:$I$8</c:f>
              <c:numCache>
                <c:formatCode>General</c:formatCode>
                <c:ptCount val="7"/>
                <c:pt idx="0">
                  <c:v>242.1233</c:v>
                </c:pt>
                <c:pt idx="4">
                  <c:v>306.8261</c:v>
                </c:pt>
                <c:pt idx="5">
                  <c:v>480.4253</c:v>
                </c:pt>
                <c:pt idx="6">
                  <c:v>254.673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J$2:$J$8</c:f>
              <c:numCache>
                <c:formatCode>General</c:formatCode>
                <c:ptCount val="7"/>
                <c:pt idx="0">
                  <c:v>234.9959</c:v>
                </c:pt>
                <c:pt idx="1">
                  <c:v>554.5367</c:v>
                </c:pt>
                <c:pt idx="3">
                  <c:v>550.469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K$2:$K$8</c:f>
              <c:numCache>
                <c:formatCode>General</c:formatCode>
                <c:ptCount val="7"/>
                <c:pt idx="2">
                  <c:v>94.655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6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Vichy</c:v>
                </c:pt>
                <c:pt idx="1">
                  <c:v>Photoderm</c:v>
                </c:pt>
              </c:strCache>
            </c:strRef>
          </c:cat>
          <c:val>
            <c:numRef>
              <c:f>Sheet1!$B$2:$B$3</c:f>
              <c:numCache>
                <c:formatCode>General</c:formatCode>
                <c:ptCount val="2"/>
                <c:pt idx="0">
                  <c:v>758.674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Vichy</c:v>
                </c:pt>
                <c:pt idx="1">
                  <c:v>Photoderm</c:v>
                </c:pt>
              </c:strCache>
            </c:strRef>
          </c:cat>
          <c:val>
            <c:numRef>
              <c:f>Sheet1!$C$2:$C$3</c:f>
              <c:numCache>
                <c:formatCode>General</c:formatCode>
                <c:ptCount val="2"/>
                <c:pt idx="0">
                  <c:v>662.341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21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Vichy</c:v>
                </c:pt>
                <c:pt idx="1">
                  <c:v>Photoderm</c:v>
                </c:pt>
              </c:strCache>
            </c:strRef>
          </c:cat>
          <c:val>
            <c:numRef>
              <c:f>Sheet1!$D$2:$D$3</c:f>
              <c:numCache>
                <c:formatCode>General</c:formatCode>
                <c:ptCount val="2"/>
                <c:pt idx="0">
                  <c:v>704.03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Vichy</c:v>
                </c:pt>
                <c:pt idx="1">
                  <c:v>Photoderm</c:v>
                </c:pt>
              </c:strCache>
            </c:strRef>
          </c:cat>
          <c:val>
            <c:numRef>
              <c:f>Sheet1!$E$2:$E$3</c:f>
              <c:numCache>
                <c:formatCode>General</c:formatCode>
                <c:ptCount val="2"/>
                <c:pt idx="0">
                  <c:v>500.4914</c:v>
                </c:pt>
                <c:pt idx="1">
                  <c:v>277.6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3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Vichy</c:v>
                </c:pt>
                <c:pt idx="1">
                  <c:v>Photoderm</c:v>
                </c:pt>
              </c:strCache>
            </c:strRef>
          </c:cat>
          <c:val>
            <c:numRef>
              <c:f>Sheet1!$F$2:$F$3</c:f>
              <c:numCache>
                <c:formatCode>General</c:formatCode>
                <c:ptCount val="2"/>
                <c:pt idx="0">
                  <c:v>499.242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B$2:$B$7</c:f>
              <c:numCache>
                <c:formatCode>General</c:formatCode>
                <c:ptCount val="6"/>
                <c:pt idx="2">
                  <c:v>223.2473</c:v>
                </c:pt>
                <c:pt idx="4">
                  <c:v>73.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C$2:$C$7</c:f>
              <c:numCache>
                <c:formatCode>General</c:formatCode>
                <c:ptCount val="6"/>
                <c:pt idx="0">
                  <c:v>180.23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D$2:$D$7</c:f>
              <c:numCache>
                <c:formatCode>General</c:formatCode>
                <c:ptCount val="6"/>
                <c:pt idx="0">
                  <c:v>234.5583</c:v>
                </c:pt>
                <c:pt idx="3">
                  <c:v>90.29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E$2:$E$7</c:f>
              <c:numCache>
                <c:formatCode>General</c:formatCode>
                <c:ptCount val="6"/>
                <c:pt idx="1">
                  <c:v>253.22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F$2:$F$7</c:f>
              <c:numCache>
                <c:formatCode>General</c:formatCode>
                <c:ptCount val="6"/>
                <c:pt idx="0">
                  <c:v>257.7365</c:v>
                </c:pt>
                <c:pt idx="2">
                  <c:v>282.89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G$2:$G$7</c:f>
              <c:numCache>
                <c:formatCode>General</c:formatCode>
                <c:ptCount val="6"/>
                <c:pt idx="1">
                  <c:v>272.659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H$2:$H$7</c:f>
              <c:numCache>
                <c:formatCode>General</c:formatCode>
                <c:ptCount val="6"/>
                <c:pt idx="1">
                  <c:v>252.55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I$2:$I$7</c:f>
              <c:numCache>
                <c:formatCode>General</c:formatCode>
                <c:ptCount val="6"/>
                <c:pt idx="0">
                  <c:v>249.0713</c:v>
                </c:pt>
                <c:pt idx="2">
                  <c:v>308.7066</c:v>
                </c:pt>
                <c:pt idx="5">
                  <c:v>246.64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Nuvel</c:v>
                </c:pt>
                <c:pt idx="5">
                  <c:v>Loreal Paris</c:v>
                </c:pt>
              </c:strCache>
            </c:strRef>
          </c:cat>
          <c:val>
            <c:numRef>
              <c:f>Sheet1!$J$2:$J$7</c:f>
              <c:numCache>
                <c:formatCode>General</c:formatCode>
                <c:ptCount val="6"/>
                <c:pt idx="0">
                  <c:v>227.9312</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Hawaiian Tropic</c:v>
                </c:pt>
                <c:pt idx="1">
                  <c:v>Others Marca Unif.</c:v>
                </c:pt>
                <c:pt idx="2">
                  <c:v>Nivea</c:v>
                </c:pt>
              </c:strCache>
            </c:strRef>
          </c:cat>
          <c:val>
            <c:numRef>
              <c:f>Sheet1!$B$2:$B$4</c:f>
              <c:numCache>
                <c:formatCode>General</c:formatCode>
                <c:ptCount val="3"/>
                <c:pt idx="1">
                  <c:v>137.68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Hawaiian Tropic</c:v>
                </c:pt>
                <c:pt idx="1">
                  <c:v>Others Marca Unif.</c:v>
                </c:pt>
                <c:pt idx="2">
                  <c:v>Nivea</c:v>
                </c:pt>
              </c:strCache>
            </c:strRef>
          </c:cat>
          <c:val>
            <c:numRef>
              <c:f>Sheet1!$C$2:$C$4</c:f>
              <c:numCache>
                <c:formatCode>General</c:formatCode>
                <c:ptCount val="3"/>
                <c:pt idx="1">
                  <c:v>167.60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Others Marca Unif.</c:v>
                </c:pt>
                <c:pt idx="2">
                  <c:v>Nivea</c:v>
                </c:pt>
              </c:strCache>
            </c:strRef>
          </c:cat>
          <c:val>
            <c:numRef>
              <c:f>Sheet1!$D$2:$D$4</c:f>
              <c:numCache>
                <c:formatCode>General</c:formatCode>
                <c:ptCount val="3"/>
                <c:pt idx="2">
                  <c:v>116.82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Hawaiian Tropic</c:v>
                </c:pt>
                <c:pt idx="1">
                  <c:v>Others Marca Unif.</c:v>
                </c:pt>
                <c:pt idx="2">
                  <c:v>Nivea</c:v>
                </c:pt>
              </c:strCache>
            </c:strRef>
          </c:cat>
          <c:val>
            <c:numRef>
              <c:f>Sheet1!$E$2:$E$4</c:f>
              <c:numCache>
                <c:formatCode>General</c:formatCode>
                <c:ptCount val="3"/>
                <c:pt idx="0">
                  <c:v>150.407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Hawaiian Tropic</c:v>
                </c:pt>
                <c:pt idx="1">
                  <c:v>Others Marca Unif.</c:v>
                </c:pt>
                <c:pt idx="2">
                  <c:v>Nivea</c:v>
                </c:pt>
              </c:strCache>
            </c:strRef>
          </c:cat>
          <c:val>
            <c:numRef>
              <c:f>Sheet1!$F$2:$F$4</c:f>
              <c:numCache>
                <c:formatCode>General</c:formatCode>
                <c:ptCount val="3"/>
                <c:pt idx="1">
                  <c:v>75.989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77652D1-392A-4101-94D0-FB67796244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5CC5F0-9EC5-4C76-9E7C-4077748B7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170188-64EB-412C-A54D-0FA5DD571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CCAD1E-6696-4946-86BC-F512A6C7C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E1CF9F-DBC9-4D5A-9514-10F2309AA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A16C68-D8D5-43A9-94F8-86BAF9A9C9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F7D15D9-D2FF-402A-AD65-4527AC9E0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2F7BFCF-BDFC-494B-A337-AF348E071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77.9471</c:v>
                </c:pt>
                <c:pt idx="1">
                  <c:v>495.5151</c:v>
                </c:pt>
                <c:pt idx="2">
                  <c:v>500.478</c:v>
                </c:pt>
                <c:pt idx="3">
                  <c:v>527.2492</c:v>
                </c:pt>
                <c:pt idx="4">
                  <c:v>240.2401</c:v>
                </c:pt>
                <c:pt idx="5">
                  <c:v>195.9192</c:v>
                </c:pt>
                <c:pt idx="6">
                  <c:v>346.1604</c:v>
                </c:pt>
                <c:pt idx="7">
                  <c:v>356.0513</c:v>
                </c:pt>
              </c:numCache>
            </c:numRef>
          </c:xVal>
          <c:yVal>
            <c:numRef>
              <c:f>Sheet1!$B$2:$B$9</c:f>
              <c:numCache>
                <c:formatCode>General</c:formatCode>
                <c:ptCount val="8"/>
                <c:pt idx="0">
                  <c:v>1.228</c:v>
                </c:pt>
                <c:pt idx="1">
                  <c:v>17.944</c:v>
                </c:pt>
                <c:pt idx="2">
                  <c:v>1.668</c:v>
                </c:pt>
                <c:pt idx="3">
                  <c:v>0.785</c:v>
                </c:pt>
                <c:pt idx="4">
                  <c:v>1.766</c:v>
                </c:pt>
                <c:pt idx="5">
                  <c:v>19.556</c:v>
                </c:pt>
                <c:pt idx="6">
                  <c:v>0.0</c:v>
                </c:pt>
                <c:pt idx="7">
                  <c:v>0.237</c:v>
                </c:pt>
              </c:numCache>
            </c:numRef>
          </c:yVal>
          <c:bubbleSize>
            <c:numRef>
              <c:f>Sheet1!$C$2:$C$9</c:f>
              <c:numCache>
                <c:formatCode>General</c:formatCode>
                <c:ptCount val="8"/>
                <c:pt idx="0">
                  <c:v>238805</c:v>
                </c:pt>
                <c:pt idx="1">
                  <c:v>213567</c:v>
                </c:pt>
                <c:pt idx="2">
                  <c:v>205196</c:v>
                </c:pt>
                <c:pt idx="3">
                  <c:v>165029</c:v>
                </c:pt>
                <c:pt idx="4">
                  <c:v>133093</c:v>
                </c:pt>
                <c:pt idx="5">
                  <c:v>77584</c:v>
                </c:pt>
                <c:pt idx="6">
                  <c:v>64732</c:v>
                </c:pt>
                <c:pt idx="7">
                  <c:v>555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33.0"/>
          <c:min val="14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2254</c:v>
                </c:pt>
                <c:pt idx="5">
                  <c:v>74.44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6.15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54.34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70.2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60.5351</c:v>
                </c:pt>
                <c:pt idx="3">
                  <c:v>305.26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56.39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2">
                  <c:v>609.59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0">
                  <c:v>245.9619</c:v>
                </c:pt>
                <c:pt idx="3">
                  <c:v>304.5218</c:v>
                </c:pt>
                <c:pt idx="6">
                  <c:v>242.721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29.5664</c:v>
                </c:pt>
                <c:pt idx="2">
                  <c:v>601.1752</c:v>
                </c:pt>
                <c:pt idx="4">
                  <c:v>587.0033</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Vichy</c:v>
                </c:pt>
                <c:pt idx="1">
                  <c:v>Neutrogena</c:v>
                </c:pt>
                <c:pt idx="2">
                  <c:v>Loreal Paris</c:v>
                </c:pt>
                <c:pt idx="3">
                  <c:v>Photoderm</c:v>
                </c:pt>
                <c:pt idx="4">
                  <c:v>Others Marca Unif.</c:v>
                </c:pt>
              </c:strCache>
            </c:strRef>
          </c:cat>
          <c:val>
            <c:numRef>
              <c:f>Sheet1!$B$2:$B$6</c:f>
              <c:numCache>
                <c:formatCode>General</c:formatCode>
                <c:ptCount val="5"/>
                <c:pt idx="4">
                  <c:v>162.06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Vichy</c:v>
                </c:pt>
                <c:pt idx="1">
                  <c:v>Neutrogena</c:v>
                </c:pt>
                <c:pt idx="2">
                  <c:v>Loreal Paris</c:v>
                </c:pt>
                <c:pt idx="3">
                  <c:v>Photoderm</c:v>
                </c:pt>
                <c:pt idx="4">
                  <c:v>Others Marca Unif.</c:v>
                </c:pt>
              </c:strCache>
            </c:strRef>
          </c:cat>
          <c:val>
            <c:numRef>
              <c:f>Sheet1!$C$2:$C$6</c:f>
              <c:numCache>
                <c:formatCode>General</c:formatCode>
                <c:ptCount val="5"/>
                <c:pt idx="0">
                  <c:v>784.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18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Loreal Paris</c:v>
                </c:pt>
                <c:pt idx="3">
                  <c:v>Photoderm</c:v>
                </c:pt>
                <c:pt idx="4">
                  <c:v>Others Marca Unif.</c:v>
                </c:pt>
              </c:strCache>
            </c:strRef>
          </c:cat>
          <c:val>
            <c:numRef>
              <c:f>Sheet1!$D$2:$D$6</c:f>
              <c:numCache>
                <c:formatCode>General</c:formatCode>
                <c:ptCount val="5"/>
                <c:pt idx="0">
                  <c:v>667.17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21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Loreal Paris</c:v>
                </c:pt>
                <c:pt idx="3">
                  <c:v>Photoderm</c:v>
                </c:pt>
                <c:pt idx="4">
                  <c:v>Others Marca Unif.</c:v>
                </c:pt>
              </c:strCache>
            </c:strRef>
          </c:cat>
          <c:val>
            <c:numRef>
              <c:f>Sheet1!$E$2:$E$6</c:f>
              <c:numCache>
                <c:formatCode>General</c:formatCode>
                <c:ptCount val="5"/>
                <c:pt idx="0">
                  <c:v>730.216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Vichy</c:v>
                </c:pt>
                <c:pt idx="1">
                  <c:v>Neutrogena</c:v>
                </c:pt>
                <c:pt idx="2">
                  <c:v>Loreal Paris</c:v>
                </c:pt>
                <c:pt idx="3">
                  <c:v>Photoderm</c:v>
                </c:pt>
                <c:pt idx="4">
                  <c:v>Others Marca Unif.</c:v>
                </c:pt>
              </c:strCache>
            </c:strRef>
          </c:cat>
          <c:val>
            <c:numRef>
              <c:f>Sheet1!$F$2:$F$6</c:f>
              <c:numCache>
                <c:formatCode>General</c:formatCode>
                <c:ptCount val="5"/>
                <c:pt idx="0">
                  <c:v>524.6933</c:v>
                </c:pt>
                <c:pt idx="1">
                  <c:v>180.7875</c:v>
                </c:pt>
                <c:pt idx="2">
                  <c:v>175.0609</c:v>
                </c:pt>
                <c:pt idx="3">
                  <c:v>348.78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1">
                  <c:v>146.35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Others Marca Unif.</c:v>
                </c:pt>
              </c:strCache>
            </c:strRef>
          </c:cat>
          <c:val>
            <c:numRef>
              <c:f>Sheet1!$C$2:$C$3</c:f>
              <c:numCache>
                <c:formatCode>General</c:formatCode>
                <c:ptCount val="2"/>
                <c:pt idx="0">
                  <c:v>114.5124</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7327</c:v>
                </c:pt>
                <c:pt idx="5">
                  <c:v>74.82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7.1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0">
                  <c:v>263.8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1">
                  <c:v>287.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0">
                  <c:v>266.9305</c:v>
                </c:pt>
                <c:pt idx="3">
                  <c:v>312.66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1">
                  <c:v>284.77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1">
                  <c:v>263.660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2">
                  <c:v>608.715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J$2:$J$8</c:f>
              <c:numCache>
                <c:formatCode>General</c:formatCode>
                <c:ptCount val="7"/>
                <c:pt idx="0">
                  <c:v>245.4048</c:v>
                </c:pt>
                <c:pt idx="3">
                  <c:v>309.5965</c:v>
                </c:pt>
                <c:pt idx="6">
                  <c:v>250.787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K$2:$K$8</c:f>
              <c:numCache>
                <c:formatCode>General</c:formatCode>
                <c:ptCount val="7"/>
                <c:pt idx="0">
                  <c:v>234.6623</c:v>
                </c:pt>
                <c:pt idx="2">
                  <c:v>592.2389</c:v>
                </c:pt>
                <c:pt idx="4">
                  <c:v>577.738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L$2:$L$8</c:f>
              <c:numCache>
                <c:formatCode>General</c:formatCode>
                <c:ptCount val="7"/>
                <c:pt idx="1">
                  <c:v>96.577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Vichy</c:v>
                </c:pt>
                <c:pt idx="1">
                  <c:v>Neutrogena</c:v>
                </c:pt>
                <c:pt idx="2">
                  <c:v>Photoderm</c:v>
                </c:pt>
                <c:pt idx="3">
                  <c:v>Loreal Paris</c:v>
                </c:pt>
                <c:pt idx="4">
                  <c:v>Others Marca Unif.</c:v>
                </c:pt>
              </c:strCache>
            </c:strRef>
          </c:cat>
          <c:val>
            <c:numRef>
              <c:f>Sheet1!$B$2:$B$6</c:f>
              <c:numCache>
                <c:formatCode>General</c:formatCode>
                <c:ptCount val="5"/>
                <c:pt idx="4">
                  <c:v>170.67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18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Vichy</c:v>
                </c:pt>
                <c:pt idx="1">
                  <c:v>Neutrogena</c:v>
                </c:pt>
                <c:pt idx="2">
                  <c:v>Photoderm</c:v>
                </c:pt>
                <c:pt idx="3">
                  <c:v>Loreal Paris</c:v>
                </c:pt>
                <c:pt idx="4">
                  <c:v>Others Marca Unif.</c:v>
                </c:pt>
              </c:strCache>
            </c:strRef>
          </c:cat>
          <c:val>
            <c:numRef>
              <c:f>Sheet1!$C$2:$C$6</c:f>
              <c:numCache>
                <c:formatCode>General</c:formatCode>
                <c:ptCount val="5"/>
                <c:pt idx="0">
                  <c:v>654.65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21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Loreal Paris</c:v>
                </c:pt>
                <c:pt idx="4">
                  <c:v>Others Marca Unif.</c:v>
                </c:pt>
              </c:strCache>
            </c:strRef>
          </c:cat>
          <c:val>
            <c:numRef>
              <c:f>Sheet1!$D$2:$D$6</c:f>
              <c:numCache>
                <c:formatCode>General</c:formatCode>
                <c:ptCount val="5"/>
                <c:pt idx="0">
                  <c:v>697.48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Vichy</c:v>
                </c:pt>
                <c:pt idx="1">
                  <c:v>Neutrogena</c:v>
                </c:pt>
                <c:pt idx="2">
                  <c:v>Photoderm</c:v>
                </c:pt>
                <c:pt idx="3">
                  <c:v>Loreal Paris</c:v>
                </c:pt>
                <c:pt idx="4">
                  <c:v>Others Marca Unif.</c:v>
                </c:pt>
              </c:strCache>
            </c:strRef>
          </c:cat>
          <c:val>
            <c:numRef>
              <c:f>Sheet1!$E$2:$E$6</c:f>
              <c:numCache>
                <c:formatCode>General</c:formatCode>
                <c:ptCount val="5"/>
                <c:pt idx="0">
                  <c:v>513.8343</c:v>
                </c:pt>
                <c:pt idx="1">
                  <c:v>151.001</c:v>
                </c:pt>
                <c:pt idx="2">
                  <c:v>362.2778</c:v>
                </c:pt>
                <c:pt idx="3">
                  <c:v>161.1067</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B$2:$B$8</c:f>
              <c:numCache>
                <c:formatCode>General</c:formatCode>
                <c:ptCount val="7"/>
                <c:pt idx="1">
                  <c:v>180.77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C$2:$C$8</c:f>
              <c:numCache>
                <c:formatCode>General</c:formatCode>
                <c:ptCount val="7"/>
                <c:pt idx="0">
                  <c:v>166.5216</c:v>
                </c:pt>
                <c:pt idx="3">
                  <c:v>122.8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D$2:$D$8</c:f>
              <c:numCache>
                <c:formatCode>General</c:formatCode>
                <c:ptCount val="7"/>
                <c:pt idx="0">
                  <c:v>270.78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E$2:$E$8</c:f>
              <c:numCache>
                <c:formatCode>General</c:formatCode>
                <c:ptCount val="7"/>
                <c:pt idx="1">
                  <c:v>284.4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F$2:$F$8</c:f>
              <c:numCache>
                <c:formatCode>General</c:formatCode>
                <c:ptCount val="7"/>
                <c:pt idx="0">
                  <c:v>271.1804</c:v>
                </c:pt>
                <c:pt idx="2">
                  <c:v>316.809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G$2:$G$8</c:f>
              <c:numCache>
                <c:formatCode>General</c:formatCode>
                <c:ptCount val="7"/>
                <c:pt idx="1">
                  <c:v>280.03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H$2:$H$8</c:f>
              <c:numCache>
                <c:formatCode>General</c:formatCode>
                <c:ptCount val="7"/>
                <c:pt idx="1">
                  <c:v>262.45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I$2:$I$8</c:f>
              <c:numCache>
                <c:formatCode>General</c:formatCode>
                <c:ptCount val="7"/>
                <c:pt idx="0">
                  <c:v>247.2421</c:v>
                </c:pt>
                <c:pt idx="2">
                  <c:v>309.9196</c:v>
                </c:pt>
                <c:pt idx="6">
                  <c:v>249.09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J$2:$J$8</c:f>
              <c:numCache>
                <c:formatCode>General</c:formatCode>
                <c:ptCount val="7"/>
                <c:pt idx="0">
                  <c:v>234.9486</c:v>
                </c:pt>
                <c:pt idx="4">
                  <c:v>615.4724</c:v>
                </c:pt>
                <c:pt idx="5">
                  <c:v>552.5335</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Loreal Paris</c:v>
                </c:pt>
                <c:pt idx="1">
                  <c:v>La Roche-Posay</c:v>
                </c:pt>
                <c:pt idx="2">
                  <c:v>Neutrogena</c:v>
                </c:pt>
                <c:pt idx="3">
                  <c:v>Vichy</c:v>
                </c:pt>
                <c:pt idx="4">
                  <c:v>Nivea</c:v>
                </c:pt>
                <c:pt idx="5">
                  <c:v>Photoderm</c:v>
                </c:pt>
                <c:pt idx="6">
                  <c:v>Others Marca Unif.</c:v>
                </c:pt>
              </c:strCache>
            </c:strRef>
          </c:cat>
          <c:val>
            <c:numRef>
              <c:f>Sheet1!$B$2:$B$8</c:f>
              <c:numCache>
                <c:formatCode>General</c:formatCode>
                <c:ptCount val="7"/>
                <c:pt idx="6">
                  <c:v>174.20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06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Loreal Paris</c:v>
                </c:pt>
                <c:pt idx="1">
                  <c:v>La Roche-Posay</c:v>
                </c:pt>
                <c:pt idx="2">
                  <c:v>Neutrogena</c:v>
                </c:pt>
                <c:pt idx="3">
                  <c:v>Vichy</c:v>
                </c:pt>
                <c:pt idx="4">
                  <c:v>Nivea</c:v>
                </c:pt>
                <c:pt idx="5">
                  <c:v>Photoderm</c:v>
                </c:pt>
                <c:pt idx="6">
                  <c:v>Others Marca Unif.</c:v>
                </c:pt>
              </c:strCache>
            </c:strRef>
          </c:cat>
          <c:val>
            <c:numRef>
              <c:f>Sheet1!$C$2:$C$8</c:f>
              <c:numCache>
                <c:formatCode>General</c:formatCode>
                <c:ptCount val="7"/>
                <c:pt idx="3">
                  <c:v>825.66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Loreal Paris</c:v>
                </c:pt>
                <c:pt idx="1">
                  <c:v>La Roche-Posay</c:v>
                </c:pt>
                <c:pt idx="2">
                  <c:v>Neutrogena</c:v>
                </c:pt>
                <c:pt idx="3">
                  <c:v>Vichy</c:v>
                </c:pt>
                <c:pt idx="4">
                  <c:v>Nivea</c:v>
                </c:pt>
                <c:pt idx="5">
                  <c:v>Photoderm</c:v>
                </c:pt>
                <c:pt idx="6">
                  <c:v>Others Marca Unif.</c:v>
                </c:pt>
              </c:strCache>
            </c:strRef>
          </c:cat>
          <c:val>
            <c:numRef>
              <c:f>Sheet1!$D$2:$D$8</c:f>
              <c:numCache>
                <c:formatCode>General</c:formatCode>
                <c:ptCount val="7"/>
                <c:pt idx="4">
                  <c:v>480.03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Loreal Paris</c:v>
                </c:pt>
                <c:pt idx="1">
                  <c:v>La Roche-Posay</c:v>
                </c:pt>
                <c:pt idx="2">
                  <c:v>Neutrogena</c:v>
                </c:pt>
                <c:pt idx="3">
                  <c:v>Vichy</c:v>
                </c:pt>
                <c:pt idx="4">
                  <c:v>Nivea</c:v>
                </c:pt>
                <c:pt idx="5">
                  <c:v>Photoderm</c:v>
                </c:pt>
                <c:pt idx="6">
                  <c:v>Others Marca Unif.</c:v>
                </c:pt>
              </c:strCache>
            </c:strRef>
          </c:cat>
          <c:val>
            <c:numRef>
              <c:f>Sheet1!$E$2:$E$8</c:f>
              <c:numCache>
                <c:formatCode>General</c:formatCode>
                <c:ptCount val="7"/>
                <c:pt idx="0">
                  <c:v>161.1536</c:v>
                </c:pt>
                <c:pt idx="2">
                  <c:v>149.6178</c:v>
                </c:pt>
                <c:pt idx="3">
                  <c:v>633.0</c:v>
                </c:pt>
                <c:pt idx="5">
                  <c:v>514.4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Loreal Paris</c:v>
                </c:pt>
                <c:pt idx="1">
                  <c:v>La Roche-Posay</c:v>
                </c:pt>
                <c:pt idx="2">
                  <c:v>Neutrogena</c:v>
                </c:pt>
                <c:pt idx="3">
                  <c:v>Vichy</c:v>
                </c:pt>
                <c:pt idx="4">
                  <c:v>Nivea</c:v>
                </c:pt>
                <c:pt idx="5">
                  <c:v>Photoderm</c:v>
                </c:pt>
                <c:pt idx="6">
                  <c:v>Others Marca Unif.</c:v>
                </c:pt>
              </c:strCache>
            </c:strRef>
          </c:cat>
          <c:val>
            <c:numRef>
              <c:f>Sheet1!$F$2:$F$8</c:f>
              <c:numCache>
                <c:formatCode>General</c:formatCode>
                <c:ptCount val="7"/>
                <c:pt idx="1">
                  <c:v>717.6829</c:v>
                </c:pt>
                <c:pt idx="3">
                  <c:v>457.07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B$2:$B$8</c:f>
              <c:numCache>
                <c:formatCode>General</c:formatCode>
                <c:ptCount val="7"/>
                <c:pt idx="1">
                  <c:v>182.788</c:v>
                </c:pt>
                <c:pt idx="3">
                  <c:v>224.5177</c:v>
                </c:pt>
                <c:pt idx="6">
                  <c:v>74.40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C$2:$C$8</c:f>
              <c:numCache>
                <c:formatCode>General</c:formatCode>
                <c:ptCount val="7"/>
                <c:pt idx="0">
                  <c:v>175.65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D$2:$D$8</c:f>
              <c:numCache>
                <c:formatCode>General</c:formatCode>
                <c:ptCount val="7"/>
                <c:pt idx="1">
                  <c:v>268.10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E$2:$E$8</c:f>
              <c:numCache>
                <c:formatCode>General</c:formatCode>
                <c:ptCount val="7"/>
                <c:pt idx="0">
                  <c:v>262.1998</c:v>
                </c:pt>
                <c:pt idx="3">
                  <c:v>304.42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F$2:$F$8</c:f>
              <c:numCache>
                <c:formatCode>General</c:formatCode>
                <c:ptCount val="7"/>
                <c:pt idx="1">
                  <c:v>270.042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G$2:$G$8</c:f>
              <c:numCache>
                <c:formatCode>General</c:formatCode>
                <c:ptCount val="7"/>
                <c:pt idx="1">
                  <c:v>259.03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H$2:$H$8</c:f>
              <c:numCache>
                <c:formatCode>General</c:formatCode>
                <c:ptCount val="7"/>
                <c:pt idx="2">
                  <c:v>598.09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I$2:$I$8</c:f>
              <c:numCache>
                <c:formatCode>General</c:formatCode>
                <c:ptCount val="7"/>
                <c:pt idx="0">
                  <c:v>245.8582</c:v>
                </c:pt>
                <c:pt idx="3">
                  <c:v>306.6436</c:v>
                </c:pt>
                <c:pt idx="5">
                  <c:v>247.205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J$2:$J$8</c:f>
              <c:numCache>
                <c:formatCode>General</c:formatCode>
                <c:ptCount val="7"/>
                <c:pt idx="0">
                  <c:v>231.7299</c:v>
                </c:pt>
                <c:pt idx="2">
                  <c:v>582.5669</c:v>
                </c:pt>
                <c:pt idx="4">
                  <c:v>567.048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K$2:$K$8</c:f>
              <c:numCache>
                <c:formatCode>General</c:formatCode>
                <c:ptCount val="7"/>
                <c:pt idx="1">
                  <c:v>102.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Loreal Paris</c:v>
                </c:pt>
                <c:pt idx="6">
                  <c:v>Nuvel</c:v>
                </c:pt>
              </c:strCache>
            </c:strRef>
          </c:cat>
          <c:val>
            <c:numRef>
              <c:f>Sheet1!$L$2:$L$8</c:f>
              <c:numCache>
                <c:formatCode>General</c:formatCode>
                <c:ptCount val="7"/>
                <c:pt idx="1">
                  <c:v>96.260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50.45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Photoderm</c:v>
                </c:pt>
              </c:strCache>
            </c:strRef>
          </c:cat>
          <c:val>
            <c:numRef>
              <c:f>Sheet1!$C$2:$C$3</c:f>
              <c:numCache>
                <c:formatCode>General</c:formatCode>
                <c:ptCount val="2"/>
                <c:pt idx="0">
                  <c:v>108.53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D$2:$D$3</c:f>
              <c:numCache>
                <c:formatCode>General</c:formatCode>
                <c:ptCount val="2"/>
                <c:pt idx="0">
                  <c:v>35.3214</c:v>
                </c:pt>
                <c:pt idx="1">
                  <c:v>336.3607</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4.20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Others Marca Unif.</c:v>
                </c:pt>
                <c:pt idx="2">
                  <c:v>Nuvel</c:v>
                </c:pt>
              </c:strCache>
            </c:strRef>
          </c:cat>
          <c:val>
            <c:numRef>
              <c:f>Sheet1!$C$2:$C$4</c:f>
              <c:numCache>
                <c:formatCode>General</c:formatCode>
                <c:ptCount val="3"/>
                <c:pt idx="0">
                  <c:v>162.6286</c:v>
                </c:pt>
                <c:pt idx="1">
                  <c:v>135.64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0">
                  <c:v>253.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5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1">
                  <c:v>185.48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Others Marca Unif.</c:v>
                </c:pt>
                <c:pt idx="2">
                  <c:v>Nuvel</c:v>
                </c:pt>
              </c:strCache>
            </c:strRef>
          </c:cat>
          <c:val>
            <c:numRef>
              <c:f>Sheet1!$F$2:$F$4</c:f>
              <c:numCache>
                <c:formatCode>General</c:formatCode>
                <c:ptCount val="3"/>
                <c:pt idx="0">
                  <c:v>261.2794</c:v>
                </c:pt>
                <c:pt idx="1">
                  <c:v>98.550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3DE21B-1D4B-442E-B42B-66EE9E67D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F18744-C915-45A1-AC97-5BCE20ACD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C3128E-15B0-41A4-B79E-A9A0879F2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8865A03-4E40-4487-96D3-DEC4B34C9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D606CC-42F4-428E-8D1D-3721F12B8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71F6EB-BEB4-4756-8699-F0C7B1BF8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5CCAF47-67DE-4A8B-91F1-8908A2270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B9DE1F-FD29-4D1D-A637-F3BD11F0B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5.0029</c:v>
                </c:pt>
                <c:pt idx="1">
                  <c:v>245.2314</c:v>
                </c:pt>
                <c:pt idx="2">
                  <c:v>217.6442</c:v>
                </c:pt>
                <c:pt idx="3">
                  <c:v>137.2075</c:v>
                </c:pt>
                <c:pt idx="4">
                  <c:v>329.1149</c:v>
                </c:pt>
              </c:numCache>
            </c:numRef>
          </c:xVal>
          <c:yVal>
            <c:numRef>
              <c:f>Sheet1!$B$2:$B$6</c:f>
              <c:numCache>
                <c:formatCode>General</c:formatCode>
                <c:ptCount val="5"/>
                <c:pt idx="0">
                  <c:v>1.078</c:v>
                </c:pt>
                <c:pt idx="1">
                  <c:v>1.145</c:v>
                </c:pt>
                <c:pt idx="2">
                  <c:v>0.859</c:v>
                </c:pt>
                <c:pt idx="3">
                  <c:v>0.865</c:v>
                </c:pt>
                <c:pt idx="4">
                  <c:v>1.305</c:v>
                </c:pt>
              </c:numCache>
            </c:numRef>
          </c:yVal>
          <c:bubbleSize>
            <c:numRef>
              <c:f>Sheet1!$C$2:$C$6</c:f>
              <c:numCache>
                <c:formatCode>General</c:formatCode>
                <c:ptCount val="5"/>
                <c:pt idx="0">
                  <c:v>2267399</c:v>
                </c:pt>
                <c:pt idx="1">
                  <c:v>1015258</c:v>
                </c:pt>
                <c:pt idx="2">
                  <c:v>577410</c:v>
                </c:pt>
                <c:pt idx="3">
                  <c:v>234076</c:v>
                </c:pt>
                <c:pt idx="4">
                  <c:v>773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95.0"/>
          <c:min val="11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B$2:$B$8</c:f>
              <c:numCache>
                <c:formatCode>General</c:formatCode>
                <c:ptCount val="7"/>
                <c:pt idx="1">
                  <c:v>185.3812</c:v>
                </c:pt>
                <c:pt idx="2">
                  <c:v>227.1893</c:v>
                </c:pt>
                <c:pt idx="6">
                  <c:v>74.72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C$2:$C$8</c:f>
              <c:numCache>
                <c:formatCode>General</c:formatCode>
                <c:ptCount val="7"/>
                <c:pt idx="0">
                  <c:v>176.82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D$2:$D$8</c:f>
              <c:numCache>
                <c:formatCode>General</c:formatCode>
                <c:ptCount val="7"/>
                <c:pt idx="1">
                  <c:v>261.84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E$2:$E$8</c:f>
              <c:numCache>
                <c:formatCode>General</c:formatCode>
                <c:ptCount val="7"/>
                <c:pt idx="0">
                  <c:v>260.1223</c:v>
                </c:pt>
                <c:pt idx="2">
                  <c:v>302.360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F$2:$F$8</c:f>
              <c:numCache>
                <c:formatCode>General</c:formatCode>
                <c:ptCount val="7"/>
                <c:pt idx="1">
                  <c:v>260.528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G$2:$G$8</c:f>
              <c:numCache>
                <c:formatCode>General</c:formatCode>
                <c:ptCount val="7"/>
                <c:pt idx="3">
                  <c:v>597.430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H$2:$H$8</c:f>
              <c:numCache>
                <c:formatCode>General</c:formatCode>
                <c:ptCount val="7"/>
                <c:pt idx="0">
                  <c:v>246.4749</c:v>
                </c:pt>
                <c:pt idx="2">
                  <c:v>304.1184</c:v>
                </c:pt>
                <c:pt idx="5">
                  <c:v>243.018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I$2:$I$8</c:f>
              <c:numCache>
                <c:formatCode>General</c:formatCode>
                <c:ptCount val="7"/>
                <c:pt idx="0">
                  <c:v>229.9332</c:v>
                </c:pt>
                <c:pt idx="3">
                  <c:v>605.5719</c:v>
                </c:pt>
                <c:pt idx="4">
                  <c:v>598.060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J$2:$J$8</c:f>
              <c:numCache>
                <c:formatCode>General</c:formatCode>
                <c:ptCount val="7"/>
                <c:pt idx="1">
                  <c:v>101.042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Isdin</c:v>
                </c:pt>
                <c:pt idx="4">
                  <c:v>La Roche-Posay</c:v>
                </c:pt>
                <c:pt idx="5">
                  <c:v>Loreal Paris</c:v>
                </c:pt>
                <c:pt idx="6">
                  <c:v>Nuvel</c:v>
                </c:pt>
              </c:strCache>
            </c:strRef>
          </c:cat>
          <c:val>
            <c:numRef>
              <c:f>Sheet1!$K$2:$K$8</c:f>
              <c:numCache>
                <c:formatCode>General</c:formatCode>
                <c:ptCount val="7"/>
                <c:pt idx="1">
                  <c:v>96.2797</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31.11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Photoderm</c:v>
                </c:pt>
              </c:strCache>
            </c:strRef>
          </c:cat>
          <c:val>
            <c:numRef>
              <c:f>Sheet1!$C$2:$C$3</c:f>
              <c:numCache>
                <c:formatCode>General</c:formatCode>
                <c:ptCount val="2"/>
                <c:pt idx="0">
                  <c:v>105.99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D$2:$D$3</c:f>
              <c:numCache>
                <c:formatCode>General</c:formatCode>
                <c:ptCount val="2"/>
                <c:pt idx="0">
                  <c:v>31.0695</c:v>
                </c:pt>
                <c:pt idx="1">
                  <c:v>852.342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Nuvel</c:v>
                </c:pt>
                <c:pt idx="2">
                  <c:v>Others Marca Unif.</c:v>
                </c:pt>
              </c:strCache>
            </c:strRef>
          </c:cat>
          <c:val>
            <c:numRef>
              <c:f>Sheet1!$B$2:$B$4</c:f>
              <c:numCache>
                <c:formatCode>General</c:formatCode>
                <c:ptCount val="3"/>
                <c:pt idx="1">
                  <c:v>74.66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Nuvel</c:v>
                </c:pt>
                <c:pt idx="2">
                  <c:v>Others Marca Unif.</c:v>
                </c:pt>
              </c:strCache>
            </c:strRef>
          </c:cat>
          <c:val>
            <c:numRef>
              <c:f>Sheet1!$C$2:$C$4</c:f>
              <c:numCache>
                <c:formatCode>General</c:formatCode>
                <c:ptCount val="3"/>
                <c:pt idx="2">
                  <c:v>132.1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D$2:$D$4</c:f>
              <c:numCache>
                <c:formatCode>General</c:formatCode>
                <c:ptCount val="3"/>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E$2:$E$4</c:f>
              <c:numCache>
                <c:formatCode>General</c:formatCode>
                <c:ptCount val="3"/>
                <c:pt idx="0">
                  <c:v>261.6577</c:v>
                </c:pt>
                <c:pt idx="2">
                  <c:v>99.63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B$2:$B$8</c:f>
              <c:numCache>
                <c:formatCode>General</c:formatCode>
                <c:ptCount val="7"/>
                <c:pt idx="2">
                  <c:v>179.09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C$2:$C$8</c:f>
              <c:numCache>
                <c:formatCode>General</c:formatCode>
                <c:ptCount val="7"/>
                <c:pt idx="0">
                  <c:v>175.47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D$2:$D$8</c:f>
              <c:numCache>
                <c:formatCode>General</c:formatCode>
                <c:ptCount val="7"/>
                <c:pt idx="2">
                  <c:v>256.49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E$2:$E$8</c:f>
              <c:numCache>
                <c:formatCode>General</c:formatCode>
                <c:ptCount val="7"/>
                <c:pt idx="0">
                  <c:v>261.3176</c:v>
                </c:pt>
                <c:pt idx="4">
                  <c:v>311.433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F$2:$F$8</c:f>
              <c:numCache>
                <c:formatCode>General</c:formatCode>
                <c:ptCount val="7"/>
                <c:pt idx="2">
                  <c:v>255.36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G$2:$G$8</c:f>
              <c:numCache>
                <c:formatCode>General</c:formatCode>
                <c:ptCount val="7"/>
                <c:pt idx="1">
                  <c:v>581.506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H$2:$H$8</c:f>
              <c:numCache>
                <c:formatCode>General</c:formatCode>
                <c:ptCount val="7"/>
                <c:pt idx="0">
                  <c:v>242.1233</c:v>
                </c:pt>
                <c:pt idx="4">
                  <c:v>306.8261</c:v>
                </c:pt>
                <c:pt idx="5">
                  <c:v>480.4253</c:v>
                </c:pt>
                <c:pt idx="6">
                  <c:v>254.67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I$2:$I$8</c:f>
              <c:numCache>
                <c:formatCode>General</c:formatCode>
                <c:ptCount val="7"/>
                <c:pt idx="0">
                  <c:v>234.9959</c:v>
                </c:pt>
                <c:pt idx="1">
                  <c:v>554.0438</c:v>
                </c:pt>
                <c:pt idx="3">
                  <c:v>551.641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Isdin</c:v>
                </c:pt>
                <c:pt idx="2">
                  <c:v>Hawaiian Tropic</c:v>
                </c:pt>
                <c:pt idx="3">
                  <c:v>La Roche-Posay</c:v>
                </c:pt>
                <c:pt idx="4">
                  <c:v>Neutrogena</c:v>
                </c:pt>
                <c:pt idx="5">
                  <c:v>Photoderm</c:v>
                </c:pt>
                <c:pt idx="6">
                  <c:v>Loreal Paris</c:v>
                </c:pt>
              </c:strCache>
            </c:strRef>
          </c:cat>
          <c:val>
            <c:numRef>
              <c:f>Sheet1!$J$2:$J$8</c:f>
              <c:numCache>
                <c:formatCode>General</c:formatCode>
                <c:ptCount val="7"/>
                <c:pt idx="2">
                  <c:v>94.655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98.00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Photoderm</c:v>
                </c:pt>
              </c:strCache>
            </c:strRef>
          </c:cat>
          <c:val>
            <c:numRef>
              <c:f>Sheet1!$C$2:$C$3</c:f>
              <c:numCache>
                <c:formatCode>General</c:formatCode>
                <c:ptCount val="2"/>
                <c:pt idx="0">
                  <c:v>109.72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D$2:$D$3</c:f>
              <c:numCache>
                <c:formatCode>General</c:formatCode>
                <c:ptCount val="2"/>
                <c:pt idx="1">
                  <c:v>248.827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B$2:$B$8</c:f>
              <c:numCache>
                <c:formatCode>General</c:formatCode>
                <c:ptCount val="7"/>
                <c:pt idx="2">
                  <c:v>74.09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C$2:$C$8</c:f>
              <c:numCache>
                <c:formatCode>General</c:formatCode>
                <c:ptCount val="7"/>
                <c:pt idx="1">
                  <c:v>137.7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D$2:$D$8</c:f>
              <c:numCache>
                <c:formatCode>General</c:formatCode>
                <c:ptCount val="7"/>
                <c:pt idx="0">
                  <c:v>257.7813</c:v>
                </c:pt>
                <c:pt idx="6">
                  <c:v>504.72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E$2:$E$8</c:f>
              <c:numCache>
                <c:formatCode>General</c:formatCode>
                <c:ptCount val="7"/>
                <c:pt idx="0">
                  <c:v>263.257</c:v>
                </c:pt>
                <c:pt idx="1">
                  <c:v>106.4692</c:v>
                </c:pt>
                <c:pt idx="3">
                  <c:v>649.3021</c:v>
                </c:pt>
                <c:pt idx="4">
                  <c:v>558.32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F$2:$F$8</c:f>
              <c:numCache>
                <c:formatCode>General</c:formatCode>
                <c:ptCount val="7"/>
                <c:pt idx="3">
                  <c:v>762.98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Others Marca Unif.</c:v>
                </c:pt>
                <c:pt idx="2">
                  <c:v>Nuvel</c:v>
                </c:pt>
                <c:pt idx="3">
                  <c:v>La Roche-Posay</c:v>
                </c:pt>
                <c:pt idx="4">
                  <c:v>Eucerin</c:v>
                </c:pt>
                <c:pt idx="5">
                  <c:v>Vichy</c:v>
                </c:pt>
                <c:pt idx="6">
                  <c:v>Cetaphil</c:v>
                </c:pt>
              </c:strCache>
            </c:strRef>
          </c:cat>
          <c:val>
            <c:numRef>
              <c:f>Sheet1!$G$2:$G$8</c:f>
              <c:numCache>
                <c:formatCode>General</c:formatCode>
                <c:ptCount val="7"/>
                <c:pt idx="5">
                  <c:v>602.0295</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B$2:$B$7</c:f>
              <c:numCache>
                <c:formatCode>General</c:formatCode>
                <c:ptCount val="6"/>
                <c:pt idx="2">
                  <c:v>223.2473</c:v>
                </c:pt>
                <c:pt idx="5">
                  <c:v>73.96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C$2:$C$7</c:f>
              <c:numCache>
                <c:formatCode>General</c:formatCode>
                <c:ptCount val="6"/>
                <c:pt idx="0">
                  <c:v>180.34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D$2:$D$7</c:f>
              <c:numCache>
                <c:formatCode>General</c:formatCode>
                <c:ptCount val="6"/>
                <c:pt idx="3">
                  <c:v>90.866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E$2:$E$7</c:f>
              <c:numCache>
                <c:formatCode>General</c:formatCode>
                <c:ptCount val="6"/>
                <c:pt idx="0">
                  <c:v>258.3414</c:v>
                </c:pt>
                <c:pt idx="2">
                  <c:v>282.89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F$2:$F$7</c:f>
              <c:numCache>
                <c:formatCode>General</c:formatCode>
                <c:ptCount val="6"/>
                <c:pt idx="1">
                  <c:v>272.65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G$2:$G$7</c:f>
              <c:numCache>
                <c:formatCode>General</c:formatCode>
                <c:ptCount val="6"/>
                <c:pt idx="1">
                  <c:v>253.34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H$2:$H$7</c:f>
              <c:numCache>
                <c:formatCode>General</c:formatCode>
                <c:ptCount val="6"/>
                <c:pt idx="0">
                  <c:v>249.0713</c:v>
                </c:pt>
                <c:pt idx="2">
                  <c:v>308.7066</c:v>
                </c:pt>
                <c:pt idx="4">
                  <c:v>246.64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ivea</c:v>
                </c:pt>
                <c:pt idx="1">
                  <c:v>Hawaiian Tropic</c:v>
                </c:pt>
                <c:pt idx="2">
                  <c:v>Neutrogena</c:v>
                </c:pt>
                <c:pt idx="3">
                  <c:v>Inds.Lavin De Mexico: All Others</c:v>
                </c:pt>
                <c:pt idx="4">
                  <c:v>Loreal Paris</c:v>
                </c:pt>
                <c:pt idx="5">
                  <c:v>Nuvel</c:v>
                </c:pt>
              </c:strCache>
            </c:strRef>
          </c:cat>
          <c:val>
            <c:numRef>
              <c:f>Sheet1!$I$2:$I$7</c:f>
              <c:numCache>
                <c:formatCode>General</c:formatCode>
                <c:ptCount val="6"/>
                <c:pt idx="0">
                  <c:v>227.931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2.94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Others Marca Unif.</c:v>
                </c:pt>
                <c:pt idx="2">
                  <c:v>Nuvel</c:v>
                </c:pt>
              </c:strCache>
            </c:strRef>
          </c:cat>
          <c:val>
            <c:numRef>
              <c:f>Sheet1!$C$2:$C$4</c:f>
              <c:numCache>
                <c:formatCode>General</c:formatCode>
                <c:ptCount val="3"/>
                <c:pt idx="0">
                  <c:v>234.55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1">
                  <c:v>186.11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0">
                  <c:v>251.453</c:v>
                </c:pt>
                <c:pt idx="1">
                  <c:v>85.7246</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B$2:$B$8</c:f>
              <c:numCache>
                <c:formatCode>General</c:formatCode>
                <c:ptCount val="7"/>
                <c:pt idx="1">
                  <c:v>182.2254</c:v>
                </c:pt>
                <c:pt idx="3">
                  <c:v>226.3991</c:v>
                </c:pt>
                <c:pt idx="5">
                  <c:v>74.41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C$2:$C$8</c:f>
              <c:numCache>
                <c:formatCode>General</c:formatCode>
                <c:ptCount val="7"/>
                <c:pt idx="0">
                  <c:v>176.84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D$2:$D$8</c:f>
              <c:numCache>
                <c:formatCode>General</c:formatCode>
                <c:ptCount val="7"/>
                <c:pt idx="1">
                  <c:v>270.2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E$2:$E$8</c:f>
              <c:numCache>
                <c:formatCode>General</c:formatCode>
                <c:ptCount val="7"/>
                <c:pt idx="0">
                  <c:v>260.6029</c:v>
                </c:pt>
                <c:pt idx="3">
                  <c:v>305.26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F$2:$F$8</c:f>
              <c:numCache>
                <c:formatCode>General</c:formatCode>
                <c:ptCount val="7"/>
                <c:pt idx="1">
                  <c:v>258.10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G$2:$G$8</c:f>
              <c:numCache>
                <c:formatCode>General</c:formatCode>
                <c:ptCount val="7"/>
                <c:pt idx="2">
                  <c:v>607.94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H$2:$H$8</c:f>
              <c:numCache>
                <c:formatCode>General</c:formatCode>
                <c:ptCount val="7"/>
                <c:pt idx="0">
                  <c:v>245.9619</c:v>
                </c:pt>
                <c:pt idx="3">
                  <c:v>304.5218</c:v>
                </c:pt>
                <c:pt idx="6">
                  <c:v>242.721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Isdin</c:v>
                </c:pt>
                <c:pt idx="3">
                  <c:v>Neutrogena</c:v>
                </c:pt>
                <c:pt idx="4">
                  <c:v>La Roche-Posay</c:v>
                </c:pt>
                <c:pt idx="5">
                  <c:v>Nuvel</c:v>
                </c:pt>
                <c:pt idx="6">
                  <c:v>Loreal Paris</c:v>
                </c:pt>
              </c:strCache>
            </c:strRef>
          </c:cat>
          <c:val>
            <c:numRef>
              <c:f>Sheet1!$I$2:$I$8</c:f>
              <c:numCache>
                <c:formatCode>General</c:formatCode>
                <c:ptCount val="7"/>
                <c:pt idx="0">
                  <c:v>229.5664</c:v>
                </c:pt>
                <c:pt idx="2">
                  <c:v>600.9201</c:v>
                </c:pt>
                <c:pt idx="4">
                  <c:v>587.1597</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42.155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Photoderm</c:v>
                </c:pt>
              </c:strCache>
            </c:strRef>
          </c:cat>
          <c:val>
            <c:numRef>
              <c:f>Sheet1!$C$2:$C$3</c:f>
              <c:numCache>
                <c:formatCode>General</c:formatCode>
                <c:ptCount val="2"/>
                <c:pt idx="0">
                  <c:v>107.31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D$2:$D$3</c:f>
              <c:numCache>
                <c:formatCode>General</c:formatCode>
                <c:ptCount val="2"/>
                <c:pt idx="0">
                  <c:v>46.649</c:v>
                </c:pt>
                <c:pt idx="1">
                  <c:v>472.3294</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5D3F31-D9CE-4FC4-AD90-F8999204B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624432-D986-41C9-AC02-FFF8CBAF0B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EB15A2-1B1E-4556-A857-5BE524891C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C3DAE6-8F5A-404D-90CC-BE85DC8D7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0F8FF7-58BB-4AAE-93E4-37A2CD2E7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8CE899-5C02-49EA-A5BF-53F4B3E07E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0A6644-E8A0-4F60-B94E-03F2C0044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5631C0-F82F-4F13-984E-77A72A355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1.0169</c:v>
                </c:pt>
                <c:pt idx="1">
                  <c:v>135.572</c:v>
                </c:pt>
                <c:pt idx="2">
                  <c:v>117.3258</c:v>
                </c:pt>
                <c:pt idx="3">
                  <c:v>54.3689</c:v>
                </c:pt>
              </c:numCache>
            </c:numRef>
          </c:xVal>
          <c:yVal>
            <c:numRef>
              <c:f>Sheet1!$B$2:$B$5</c:f>
              <c:numCache>
                <c:formatCode>General</c:formatCode>
                <c:ptCount val="4"/>
                <c:pt idx="0">
                  <c:v>1.312</c:v>
                </c:pt>
                <c:pt idx="1">
                  <c:v>0.79</c:v>
                </c:pt>
                <c:pt idx="2">
                  <c:v>1.079</c:v>
                </c:pt>
                <c:pt idx="3">
                  <c:v>0.421</c:v>
                </c:pt>
              </c:numCache>
            </c:numRef>
          </c:yVal>
          <c:bubbleSize>
            <c:numRef>
              <c:f>Sheet1!$C$2:$C$5</c:f>
              <c:numCache>
                <c:formatCode>General</c:formatCode>
                <c:ptCount val="4"/>
                <c:pt idx="0">
                  <c:v>1738558</c:v>
                </c:pt>
                <c:pt idx="1">
                  <c:v>1670789</c:v>
                </c:pt>
                <c:pt idx="2">
                  <c:v>903761</c:v>
                </c:pt>
                <c:pt idx="3">
                  <c:v>534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5.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Nuvel</c:v>
                </c:pt>
                <c:pt idx="2">
                  <c:v>Others Marca Unif.</c:v>
                </c:pt>
              </c:strCache>
            </c:strRef>
          </c:cat>
          <c:val>
            <c:numRef>
              <c:f>Sheet1!$B$2:$B$4</c:f>
              <c:numCache>
                <c:formatCode>General</c:formatCode>
                <c:ptCount val="3"/>
                <c:pt idx="1">
                  <c:v>74.547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Nuvel</c:v>
                </c:pt>
                <c:pt idx="2">
                  <c:v>Others Marca Unif.</c:v>
                </c:pt>
              </c:strCache>
            </c:strRef>
          </c:cat>
          <c:val>
            <c:numRef>
              <c:f>Sheet1!$C$2:$C$4</c:f>
              <c:numCache>
                <c:formatCode>General</c:formatCode>
                <c:ptCount val="3"/>
                <c:pt idx="0">
                  <c:v>157.6872</c:v>
                </c:pt>
                <c:pt idx="2">
                  <c:v>134.7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D$2:$D$4</c:f>
              <c:numCache>
                <c:formatCode>General</c:formatCode>
                <c:ptCount val="3"/>
                <c:pt idx="0">
                  <c:v>254.34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Nuvel</c:v>
                </c:pt>
                <c:pt idx="2">
                  <c:v>Others Marca Unif.</c:v>
                </c:pt>
              </c:strCache>
            </c:strRef>
          </c:cat>
          <c:val>
            <c:numRef>
              <c:f>Sheet1!$E$2:$E$4</c:f>
              <c:numCache>
                <c:formatCode>General</c:formatCode>
                <c:ptCount val="3"/>
                <c:pt idx="0">
                  <c:v>260.0287</c:v>
                </c:pt>
                <c:pt idx="2">
                  <c:v>95.604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B$2:$B$9</c:f>
              <c:numCache>
                <c:formatCode>General</c:formatCode>
                <c:ptCount val="8"/>
                <c:pt idx="1">
                  <c:v>182.8186</c:v>
                </c:pt>
                <c:pt idx="6">
                  <c:v>74.84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C$2:$C$9</c:f>
              <c:numCache>
                <c:formatCode>General</c:formatCode>
                <c:ptCount val="8"/>
                <c:pt idx="0">
                  <c:v>177.564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D$2:$D$9</c:f>
              <c:numCache>
                <c:formatCode>General</c:formatCode>
                <c:ptCount val="8"/>
                <c:pt idx="1">
                  <c:v>287.17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E$2:$E$9</c:f>
              <c:numCache>
                <c:formatCode>General</c:formatCode>
                <c:ptCount val="8"/>
                <c:pt idx="0">
                  <c:v>266.8633</c:v>
                </c:pt>
                <c:pt idx="3">
                  <c:v>312.66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F$2:$F$9</c:f>
              <c:numCache>
                <c:formatCode>General</c:formatCode>
                <c:ptCount val="8"/>
                <c:pt idx="1">
                  <c:v>284.771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G$2:$G$9</c:f>
              <c:numCache>
                <c:formatCode>General</c:formatCode>
                <c:ptCount val="8"/>
                <c:pt idx="1">
                  <c:v>264.60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H$2:$H$9</c:f>
              <c:numCache>
                <c:formatCode>General</c:formatCode>
                <c:ptCount val="8"/>
                <c:pt idx="2">
                  <c:v>607.895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I$2:$I$9</c:f>
              <c:numCache>
                <c:formatCode>General</c:formatCode>
                <c:ptCount val="8"/>
                <c:pt idx="0">
                  <c:v>245.4048</c:v>
                </c:pt>
                <c:pt idx="3">
                  <c:v>309.5965</c:v>
                </c:pt>
                <c:pt idx="5">
                  <c:v>194.9897</c:v>
                </c:pt>
                <c:pt idx="7">
                  <c:v>250.787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J$2:$J$9</c:f>
              <c:numCache>
                <c:formatCode>General</c:formatCode>
                <c:ptCount val="8"/>
                <c:pt idx="0">
                  <c:v>234.6623</c:v>
                </c:pt>
                <c:pt idx="2">
                  <c:v>592.0604</c:v>
                </c:pt>
                <c:pt idx="4">
                  <c:v>578.3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0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K$2:$K$9</c:f>
              <c:numCache>
                <c:formatCode>General</c:formatCode>
                <c:ptCount val="8"/>
                <c:pt idx="1">
                  <c:v>103.94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9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Hawaiian Tropic</c:v>
                </c:pt>
                <c:pt idx="2">
                  <c:v>Isdin</c:v>
                </c:pt>
                <c:pt idx="3">
                  <c:v>Neutrogena</c:v>
                </c:pt>
                <c:pt idx="4">
                  <c:v>La Roche-Posay</c:v>
                </c:pt>
                <c:pt idx="5">
                  <c:v>Garnier</c:v>
                </c:pt>
                <c:pt idx="6">
                  <c:v>Nuvel</c:v>
                </c:pt>
                <c:pt idx="7">
                  <c:v>Loreal Paris</c:v>
                </c:pt>
              </c:strCache>
            </c:strRef>
          </c:cat>
          <c:val>
            <c:numRef>
              <c:f>Sheet1!$L$2:$L$9</c:f>
              <c:numCache>
                <c:formatCode>General</c:formatCode>
                <c:ptCount val="8"/>
                <c:pt idx="1">
                  <c:v>96.577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47.925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Photoderm</c:v>
                </c:pt>
              </c:strCache>
            </c:strRef>
          </c:cat>
          <c:val>
            <c:numRef>
              <c:f>Sheet1!$C$2:$C$3</c:f>
              <c:numCache>
                <c:formatCode>General</c:formatCode>
                <c:ptCount val="2"/>
                <c:pt idx="0">
                  <c:v>107.87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D$2:$D$3</c:f>
              <c:numCache>
                <c:formatCode>General</c:formatCode>
                <c:ptCount val="2"/>
                <c:pt idx="0">
                  <c:v>38.6613</c:v>
                </c:pt>
                <c:pt idx="1">
                  <c:v>368.322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Others Marca Unif.</c:v>
                </c:pt>
                <c:pt idx="2">
                  <c:v>Nuvel</c:v>
                </c:pt>
              </c:strCache>
            </c:strRef>
          </c:cat>
          <c:val>
            <c:numRef>
              <c:f>Sheet1!$B$2:$B$4</c:f>
              <c:numCache>
                <c:formatCode>General</c:formatCode>
                <c:ptCount val="3"/>
                <c:pt idx="2">
                  <c:v>74.72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Others Marca Unif.</c:v>
                </c:pt>
                <c:pt idx="2">
                  <c:v>Nuvel</c:v>
                </c:pt>
              </c:strCache>
            </c:strRef>
          </c:cat>
          <c:val>
            <c:numRef>
              <c:f>Sheet1!$C$2:$C$4</c:f>
              <c:numCache>
                <c:formatCode>General</c:formatCode>
                <c:ptCount val="3"/>
                <c:pt idx="0">
                  <c:v>167.2839</c:v>
                </c:pt>
                <c:pt idx="1">
                  <c:v>138.58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D$2:$D$4</c:f>
              <c:numCache>
                <c:formatCode>General</c:formatCode>
                <c:ptCount val="3"/>
                <c:pt idx="0">
                  <c:v>263.8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Others Marca Unif.</c:v>
                </c:pt>
                <c:pt idx="2">
                  <c:v>Nuvel</c:v>
                </c:pt>
              </c:strCache>
            </c:strRef>
          </c:cat>
          <c:val>
            <c:numRef>
              <c:f>Sheet1!$E$2:$E$4</c:f>
              <c:numCache>
                <c:formatCode>General</c:formatCode>
                <c:ptCount val="3"/>
                <c:pt idx="0">
                  <c:v>267.4428</c:v>
                </c:pt>
                <c:pt idx="1">
                  <c:v>105.899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B$2:$B$8</c:f>
              <c:numCache>
                <c:formatCode>General</c:formatCode>
                <c:ptCount val="7"/>
                <c:pt idx="1">
                  <c:v>180.77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C$2:$C$8</c:f>
              <c:numCache>
                <c:formatCode>General</c:formatCode>
                <c:ptCount val="7"/>
                <c:pt idx="0">
                  <c:v>167.1812</c:v>
                </c:pt>
                <c:pt idx="3">
                  <c:v>119.72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D$2:$D$8</c:f>
              <c:numCache>
                <c:formatCode>General</c:formatCode>
                <c:ptCount val="7"/>
                <c:pt idx="1">
                  <c:v>284.406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E$2:$E$8</c:f>
              <c:numCache>
                <c:formatCode>General</c:formatCode>
                <c:ptCount val="7"/>
                <c:pt idx="0">
                  <c:v>271.4851</c:v>
                </c:pt>
                <c:pt idx="2">
                  <c:v>316.80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F$2:$F$8</c:f>
              <c:numCache>
                <c:formatCode>General</c:formatCode>
                <c:ptCount val="7"/>
                <c:pt idx="1">
                  <c:v>280.03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G$2:$G$8</c:f>
              <c:numCache>
                <c:formatCode>General</c:formatCode>
                <c:ptCount val="7"/>
                <c:pt idx="1">
                  <c:v>263.38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H$2:$H$8</c:f>
              <c:numCache>
                <c:formatCode>General</c:formatCode>
                <c:ptCount val="7"/>
                <c:pt idx="0">
                  <c:v>247.2421</c:v>
                </c:pt>
                <c:pt idx="2">
                  <c:v>309.9196</c:v>
                </c:pt>
                <c:pt idx="6">
                  <c:v>249.098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La Roche-Posay</c:v>
                </c:pt>
                <c:pt idx="6">
                  <c:v>Loreal Paris</c:v>
                </c:pt>
              </c:strCache>
            </c:strRef>
          </c:cat>
          <c:val>
            <c:numRef>
              <c:f>Sheet1!$I$2:$I$8</c:f>
              <c:numCache>
                <c:formatCode>General</c:formatCode>
                <c:ptCount val="7"/>
                <c:pt idx="0">
                  <c:v>234.9486</c:v>
                </c:pt>
                <c:pt idx="4">
                  <c:v>615.4395</c:v>
                </c:pt>
                <c:pt idx="5">
                  <c:v>551.414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Photoderm</c:v>
                </c:pt>
              </c:strCache>
            </c:strRef>
          </c:cat>
          <c:val>
            <c:numRef>
              <c:f>Sheet1!$B$2:$B$3</c:f>
              <c:numCache>
                <c:formatCode>General</c:formatCode>
                <c:ptCount val="2"/>
                <c:pt idx="0">
                  <c:v>54.97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Photoderm</c:v>
                </c:pt>
              </c:strCache>
            </c:strRef>
          </c:cat>
          <c:val>
            <c:numRef>
              <c:f>Sheet1!$C$2:$C$3</c:f>
              <c:numCache>
                <c:formatCode>General</c:formatCode>
                <c:ptCount val="2"/>
                <c:pt idx="0">
                  <c:v>110.56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Photoderm</c:v>
                </c:pt>
              </c:strCache>
            </c:strRef>
          </c:cat>
          <c:val>
            <c:numRef>
              <c:f>Sheet1!$D$2:$D$3</c:f>
              <c:numCache>
                <c:formatCode>General</c:formatCode>
                <c:ptCount val="2"/>
                <c:pt idx="1">
                  <c:v>988.111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Nuvel</c:v>
                </c:pt>
              </c:strCache>
            </c:strRef>
          </c:cat>
          <c:val>
            <c:numRef>
              <c:f>Sheet1!$B$2:$B$3</c:f>
              <c:numCache>
                <c:formatCode>General</c:formatCode>
                <c:ptCount val="2"/>
                <c:pt idx="1">
                  <c:v>73.144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Nuvel</c:v>
                </c:pt>
              </c:strCache>
            </c:strRef>
          </c:cat>
          <c:val>
            <c:numRef>
              <c:f>Sheet1!$C$2:$C$3</c:f>
              <c:numCache>
                <c:formatCode>General</c:formatCode>
                <c:ptCount val="2"/>
                <c:pt idx="0">
                  <c:v>135.860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Nuvel</c:v>
                </c:pt>
              </c:strCache>
            </c:strRef>
          </c:cat>
          <c:val>
            <c:numRef>
              <c:f>Sheet1!$D$2:$D$3</c:f>
              <c:numCache>
                <c:formatCode>General</c:formatCode>
                <c:ptCount val="2"/>
                <c:pt idx="0">
                  <c:v>96.5831</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B$2:$B$4</c:f>
              <c:numCache>
                <c:formatCode>General</c:formatCode>
                <c:ptCount val="3"/>
                <c:pt idx="1">
                  <c:v>182.7699</c:v>
                </c:pt>
                <c:pt idx="2">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C$2:$C$4</c:f>
              <c:numCache>
                <c:formatCode>General</c:formatCode>
                <c:ptCount val="3"/>
                <c:pt idx="0">
                  <c:v>175.09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D$2:$D$4</c:f>
              <c:numCache>
                <c:formatCode>General</c:formatCode>
                <c:ptCount val="3"/>
                <c:pt idx="0">
                  <c:v>253.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E$2:$E$4</c:f>
              <c:numCache>
                <c:formatCode>General</c:formatCode>
                <c:ptCount val="3"/>
                <c:pt idx="1">
                  <c:v>268.10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F$2:$F$4</c:f>
              <c:numCache>
                <c:formatCode>General</c:formatCode>
                <c:ptCount val="3"/>
                <c:pt idx="0">
                  <c:v>262.100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G$2:$G$4</c:f>
              <c:numCache>
                <c:formatCode>General</c:formatCode>
                <c:ptCount val="3"/>
                <c:pt idx="1">
                  <c:v>258.345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H$2:$H$4</c:f>
              <c:numCache>
                <c:formatCode>General</c:formatCode>
                <c:ptCount val="3"/>
                <c:pt idx="0">
                  <c:v>245.858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I$2:$I$4</c:f>
              <c:numCache>
                <c:formatCode>General</c:formatCode>
                <c:ptCount val="3"/>
                <c:pt idx="0">
                  <c:v>231.72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J$2:$J$4</c:f>
              <c:numCache>
                <c:formatCode>General</c:formatCode>
                <c:ptCount val="3"/>
                <c:pt idx="1">
                  <c:v>96.2608</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B$2:$B$7</c:f>
              <c:numCache>
                <c:formatCode>General</c:formatCode>
                <c:ptCount val="6"/>
                <c:pt idx="0">
                  <c:v>428.66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Neutrogena</c:v>
                </c:pt>
                <c:pt idx="2">
                  <c:v>La Roche-Posay</c:v>
                </c:pt>
                <c:pt idx="3">
                  <c:v>Loreal Paris</c:v>
                </c:pt>
                <c:pt idx="4">
                  <c:v>Others Marca Unif.</c:v>
                </c:pt>
                <c:pt idx="5">
                  <c:v>Photoderm</c:v>
                </c:pt>
              </c:strCache>
            </c:strRef>
          </c:cat>
          <c:val>
            <c:numRef>
              <c:f>Sheet1!$C$2:$C$7</c:f>
              <c:numCache>
                <c:formatCode>General</c:formatCode>
                <c:ptCount val="6"/>
                <c:pt idx="1">
                  <c:v>224.5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D$2:$D$7</c:f>
              <c:numCache>
                <c:formatCode>General</c:formatCode>
                <c:ptCount val="6"/>
                <c:pt idx="4">
                  <c:v>142.63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E$2:$E$7</c:f>
              <c:numCache>
                <c:formatCode>General</c:formatCode>
                <c:ptCount val="6"/>
                <c:pt idx="0">
                  <c:v>594.2317</c:v>
                </c:pt>
                <c:pt idx="1">
                  <c:v>304.429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Neutrogena</c:v>
                </c:pt>
                <c:pt idx="2">
                  <c:v>La Roche-Posay</c:v>
                </c:pt>
                <c:pt idx="3">
                  <c:v>Loreal Paris</c:v>
                </c:pt>
                <c:pt idx="4">
                  <c:v>Others Marca Unif.</c:v>
                </c:pt>
                <c:pt idx="5">
                  <c:v>Photoderm</c:v>
                </c:pt>
              </c:strCache>
            </c:strRef>
          </c:cat>
          <c:val>
            <c:numRef>
              <c:f>Sheet1!$F$2:$F$7</c:f>
              <c:numCache>
                <c:formatCode>General</c:formatCode>
                <c:ptCount val="6"/>
                <c:pt idx="0">
                  <c:v>599.602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G$2:$G$7</c:f>
              <c:numCache>
                <c:formatCode>General</c:formatCode>
                <c:ptCount val="6"/>
                <c:pt idx="1">
                  <c:v>306.6436</c:v>
                </c:pt>
                <c:pt idx="3">
                  <c:v>247.2053</c:v>
                </c:pt>
                <c:pt idx="5">
                  <c:v>503.30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H$2:$H$7</c:f>
              <c:numCache>
                <c:formatCode>General</c:formatCode>
                <c:ptCount val="6"/>
                <c:pt idx="0">
                  <c:v>582.9502</c:v>
                </c:pt>
                <c:pt idx="2">
                  <c:v>566.588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I$2:$I$7</c:f>
              <c:numCache>
                <c:formatCode>General</c:formatCode>
                <c:ptCount val="6"/>
                <c:pt idx="4">
                  <c:v>125.92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J$2:$J$7</c:f>
              <c:numCache>
                <c:formatCode>General</c:formatCode>
                <c:ptCount val="6"/>
                <c:pt idx="2">
                  <c:v>459.145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08.879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1580D0-7C70-4825-9B68-503A6C2D6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800429-2901-4778-8EC9-9783CEE55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002E7B-B9E6-4BB0-8C4A-7B174E3FE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9B10081-0B67-462A-8C47-6C01EC71E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36334D-6C6C-46AE-B980-F08A95379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30B93C-053D-41D6-9D58-C2C9FB5C47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01A520-40F9-4CB6-92FD-395AD6741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97EBC71-D773-4A17-96A3-F2EEC6FA9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4.6602</c:v>
                </c:pt>
                <c:pt idx="1">
                  <c:v>552.8728</c:v>
                </c:pt>
                <c:pt idx="2">
                  <c:v>195.1768</c:v>
                </c:pt>
                <c:pt idx="3">
                  <c:v>203.6603</c:v>
                </c:pt>
                <c:pt idx="4">
                  <c:v>544.9942</c:v>
                </c:pt>
                <c:pt idx="5">
                  <c:v>293.068</c:v>
                </c:pt>
                <c:pt idx="6">
                  <c:v>574.2405</c:v>
                </c:pt>
                <c:pt idx="7">
                  <c:v>521.0654</c:v>
                </c:pt>
                <c:pt idx="8">
                  <c:v>83.2425</c:v>
                </c:pt>
              </c:numCache>
            </c:numRef>
          </c:xVal>
          <c:yVal>
            <c:numRef>
              <c:f>Sheet1!$B$2:$B$10</c:f>
              <c:numCache>
                <c:formatCode>General</c:formatCode>
                <c:ptCount val="9"/>
                <c:pt idx="0">
                  <c:v>0.895</c:v>
                </c:pt>
                <c:pt idx="1">
                  <c:v>3.38</c:v>
                </c:pt>
                <c:pt idx="2">
                  <c:v>0.594</c:v>
                </c:pt>
                <c:pt idx="3">
                  <c:v>0.594</c:v>
                </c:pt>
                <c:pt idx="4">
                  <c:v>4.491</c:v>
                </c:pt>
                <c:pt idx="5">
                  <c:v>1.676</c:v>
                </c:pt>
                <c:pt idx="6">
                  <c:v>3.943</c:v>
                </c:pt>
                <c:pt idx="7">
                  <c:v>3.233</c:v>
                </c:pt>
                <c:pt idx="8">
                  <c:v>0.332</c:v>
                </c:pt>
              </c:numCache>
            </c:numRef>
          </c:yVal>
          <c:bubbleSize>
            <c:numRef>
              <c:f>Sheet1!$C$2:$C$10</c:f>
              <c:numCache>
                <c:formatCode>General</c:formatCode>
                <c:ptCount val="9"/>
                <c:pt idx="0">
                  <c:v>76877378</c:v>
                </c:pt>
                <c:pt idx="1">
                  <c:v>38563986</c:v>
                </c:pt>
                <c:pt idx="2">
                  <c:v>32325964</c:v>
                </c:pt>
                <c:pt idx="3">
                  <c:v>31364903</c:v>
                </c:pt>
                <c:pt idx="4">
                  <c:v>20599144</c:v>
                </c:pt>
                <c:pt idx="5">
                  <c:v>19334577</c:v>
                </c:pt>
                <c:pt idx="6">
                  <c:v>12851502</c:v>
                </c:pt>
                <c:pt idx="7">
                  <c:v>10428081</c:v>
                </c:pt>
                <c:pt idx="8">
                  <c:v>948223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9.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B$2:$B$4</c:f>
              <c:numCache>
                <c:formatCode>General</c:formatCode>
                <c:ptCount val="3"/>
                <c:pt idx="1">
                  <c:v>185.3812</c:v>
                </c:pt>
                <c:pt idx="2">
                  <c:v>74.7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C$2:$C$4</c:f>
              <c:numCache>
                <c:formatCode>General</c:formatCode>
                <c:ptCount val="3"/>
                <c:pt idx="0">
                  <c:v>176.55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D$2:$D$4</c:f>
              <c:numCache>
                <c:formatCode>General</c:formatCode>
                <c:ptCount val="3"/>
                <c:pt idx="0">
                  <c:v>258.36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E$2:$E$4</c:f>
              <c:numCache>
                <c:formatCode>General</c:formatCode>
                <c:ptCount val="3"/>
                <c:pt idx="1">
                  <c:v>261.84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F$2:$F$4</c:f>
              <c:numCache>
                <c:formatCode>General</c:formatCode>
                <c:ptCount val="3"/>
                <c:pt idx="0">
                  <c:v>260.307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G$2:$G$4</c:f>
              <c:numCache>
                <c:formatCode>General</c:formatCode>
                <c:ptCount val="3"/>
                <c:pt idx="1">
                  <c:v>258.642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H$2:$H$4</c:f>
              <c:numCache>
                <c:formatCode>General</c:formatCode>
                <c:ptCount val="3"/>
                <c:pt idx="0">
                  <c:v>246.47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I$2:$I$4</c:f>
              <c:numCache>
                <c:formatCode>General</c:formatCode>
                <c:ptCount val="3"/>
                <c:pt idx="0">
                  <c:v>229.933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J$2:$J$4</c:f>
              <c:numCache>
                <c:formatCode>General</c:formatCode>
                <c:ptCount val="3"/>
                <c:pt idx="1">
                  <c:v>96.2797</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Loreal Paris</c:v>
                </c:pt>
                <c:pt idx="4">
                  <c:v>Others Marca Unif.</c:v>
                </c:pt>
                <c:pt idx="5">
                  <c:v>Photoderm</c:v>
                </c:pt>
              </c:strCache>
            </c:strRef>
          </c:cat>
          <c:val>
            <c:numRef>
              <c:f>Sheet1!$B$2:$B$7</c:f>
              <c:numCache>
                <c:formatCode>General</c:formatCode>
                <c:ptCount val="6"/>
                <c:pt idx="0">
                  <c:v>227.189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eutrogena</c:v>
                </c:pt>
                <c:pt idx="1">
                  <c:v>Isdin</c:v>
                </c:pt>
                <c:pt idx="2">
                  <c:v>La Roche-Posay</c:v>
                </c:pt>
                <c:pt idx="3">
                  <c:v>Loreal Paris</c:v>
                </c:pt>
                <c:pt idx="4">
                  <c:v>Others Marca Unif.</c:v>
                </c:pt>
                <c:pt idx="5">
                  <c:v>Photoderm</c:v>
                </c:pt>
              </c:strCache>
            </c:strRef>
          </c:cat>
          <c:val>
            <c:numRef>
              <c:f>Sheet1!$C$2:$C$7</c:f>
              <c:numCache>
                <c:formatCode>General</c:formatCode>
                <c:ptCount val="6"/>
                <c:pt idx="4">
                  <c:v>140.668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Paris</c:v>
                </c:pt>
                <c:pt idx="4">
                  <c:v>Others Marca Unif.</c:v>
                </c:pt>
                <c:pt idx="5">
                  <c:v>Photoderm</c:v>
                </c:pt>
              </c:strCache>
            </c:strRef>
          </c:cat>
          <c:val>
            <c:numRef>
              <c:f>Sheet1!$D$2:$D$7</c:f>
              <c:numCache>
                <c:formatCode>General</c:formatCode>
                <c:ptCount val="6"/>
                <c:pt idx="0">
                  <c:v>302.3603</c:v>
                </c:pt>
                <c:pt idx="1">
                  <c:v>595.65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Paris</c:v>
                </c:pt>
                <c:pt idx="4">
                  <c:v>Others Marca Unif.</c:v>
                </c:pt>
                <c:pt idx="5">
                  <c:v>Photoderm</c:v>
                </c:pt>
              </c:strCache>
            </c:strRef>
          </c:cat>
          <c:val>
            <c:numRef>
              <c:f>Sheet1!$E$2:$E$7</c:f>
              <c:numCache>
                <c:formatCode>General</c:formatCode>
                <c:ptCount val="6"/>
                <c:pt idx="1">
                  <c:v>598.296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eutrogena</c:v>
                </c:pt>
                <c:pt idx="1">
                  <c:v>Isdin</c:v>
                </c:pt>
                <c:pt idx="2">
                  <c:v>La Roche-Posay</c:v>
                </c:pt>
                <c:pt idx="3">
                  <c:v>Loreal Paris</c:v>
                </c:pt>
                <c:pt idx="4">
                  <c:v>Others Marca Unif.</c:v>
                </c:pt>
                <c:pt idx="5">
                  <c:v>Photoderm</c:v>
                </c:pt>
              </c:strCache>
            </c:strRef>
          </c:cat>
          <c:val>
            <c:numRef>
              <c:f>Sheet1!$F$2:$F$7</c:f>
              <c:numCache>
                <c:formatCode>General</c:formatCode>
                <c:ptCount val="6"/>
                <c:pt idx="0">
                  <c:v>304.1184</c:v>
                </c:pt>
                <c:pt idx="3">
                  <c:v>243.0187</c:v>
                </c:pt>
                <c:pt idx="5">
                  <c:v>543.293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Loreal Paris</c:v>
                </c:pt>
                <c:pt idx="4">
                  <c:v>Others Marca Unif.</c:v>
                </c:pt>
                <c:pt idx="5">
                  <c:v>Photoderm</c:v>
                </c:pt>
              </c:strCache>
            </c:strRef>
          </c:cat>
          <c:val>
            <c:numRef>
              <c:f>Sheet1!$G$2:$G$7</c:f>
              <c:numCache>
                <c:formatCode>General</c:formatCode>
                <c:ptCount val="6"/>
                <c:pt idx="1">
                  <c:v>605.5393</c:v>
                </c:pt>
                <c:pt idx="2">
                  <c:v>598.62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Loreal Paris</c:v>
                </c:pt>
                <c:pt idx="4">
                  <c:v>Others Marca Unif.</c:v>
                </c:pt>
                <c:pt idx="5">
                  <c:v>Photoderm</c:v>
                </c:pt>
              </c:strCache>
            </c:strRef>
          </c:cat>
          <c:val>
            <c:numRef>
              <c:f>Sheet1!$H$2:$H$7</c:f>
              <c:numCache>
                <c:formatCode>General</c:formatCode>
                <c:ptCount val="6"/>
                <c:pt idx="4">
                  <c:v>123.458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Loreal Paris</c:v>
                </c:pt>
                <c:pt idx="4">
                  <c:v>Others Marca Unif.</c:v>
                </c:pt>
                <c:pt idx="5">
                  <c:v>Photoderm</c:v>
                </c:pt>
              </c:strCache>
            </c:strRef>
          </c:cat>
          <c:val>
            <c:numRef>
              <c:f>Sheet1!$I$2:$I$7</c:f>
              <c:numCache>
                <c:formatCode>General</c:formatCode>
                <c:ptCount val="6"/>
                <c:pt idx="2">
                  <c:v>481.2695</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18.670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B$2:$B$4</c:f>
              <c:numCache>
                <c:formatCode>General</c:formatCode>
                <c:ptCount val="3"/>
                <c:pt idx="1">
                  <c:v>179.0939</c:v>
                </c:pt>
                <c:pt idx="2">
                  <c:v>74.1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C$2:$C$4</c:f>
              <c:numCache>
                <c:formatCode>General</c:formatCode>
                <c:ptCount val="3"/>
                <c:pt idx="0">
                  <c:v>174.97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D$2:$D$4</c:f>
              <c:numCache>
                <c:formatCode>General</c:formatCode>
                <c:ptCount val="3"/>
                <c:pt idx="0">
                  <c:v>257.78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E$2:$E$4</c:f>
              <c:numCache>
                <c:formatCode>General</c:formatCode>
                <c:ptCount val="3"/>
                <c:pt idx="1">
                  <c:v>256.49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F$2:$F$4</c:f>
              <c:numCache>
                <c:formatCode>General</c:formatCode>
                <c:ptCount val="3"/>
                <c:pt idx="0">
                  <c:v>261.520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G$2:$G$4</c:f>
              <c:numCache>
                <c:formatCode>General</c:formatCode>
                <c:ptCount val="3"/>
                <c:pt idx="1">
                  <c:v>256.7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H$2:$H$4</c:f>
              <c:numCache>
                <c:formatCode>General</c:formatCode>
                <c:ptCount val="3"/>
                <c:pt idx="0">
                  <c:v>242.12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I$2:$I$4</c:f>
              <c:numCache>
                <c:formatCode>General</c:formatCode>
                <c:ptCount val="3"/>
                <c:pt idx="0">
                  <c:v>234.995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J$2:$J$4</c:f>
              <c:numCache>
                <c:formatCode>General</c:formatCode>
                <c:ptCount val="3"/>
                <c:pt idx="1">
                  <c:v>94.655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B$2:$B$8</c:f>
              <c:numCache>
                <c:formatCode>General</c:formatCode>
                <c:ptCount val="7"/>
                <c:pt idx="2">
                  <c:v>220.244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C$2:$C$8</c:f>
              <c:numCache>
                <c:formatCode>General</c:formatCode>
                <c:ptCount val="7"/>
                <c:pt idx="0">
                  <c:v>573.4271</c:v>
                </c:pt>
                <c:pt idx="2">
                  <c:v>311.433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D$2:$D$8</c:f>
              <c:numCache>
                <c:formatCode>General</c:formatCode>
                <c:ptCount val="7"/>
                <c:pt idx="0">
                  <c:v>584.03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E$2:$E$8</c:f>
              <c:numCache>
                <c:formatCode>General</c:formatCode>
                <c:ptCount val="7"/>
                <c:pt idx="3">
                  <c:v>716.43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F$2:$F$8</c:f>
              <c:numCache>
                <c:formatCode>General</c:formatCode>
                <c:ptCount val="7"/>
                <c:pt idx="2">
                  <c:v>306.8261</c:v>
                </c:pt>
                <c:pt idx="4">
                  <c:v>480.4253</c:v>
                </c:pt>
                <c:pt idx="6">
                  <c:v>254.673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G$2:$G$8</c:f>
              <c:numCache>
                <c:formatCode>General</c:formatCode>
                <c:ptCount val="7"/>
                <c:pt idx="0">
                  <c:v>554.5367</c:v>
                </c:pt>
                <c:pt idx="1">
                  <c:v>550.4693</c:v>
                </c:pt>
                <c:pt idx="3">
                  <c:v>586.29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H$2:$H$8</c:f>
              <c:numCache>
                <c:formatCode>General</c:formatCode>
                <c:ptCount val="7"/>
                <c:pt idx="5">
                  <c:v>135.411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La Roche-Posay</c:v>
                </c:pt>
                <c:pt idx="2">
                  <c:v>Neutrogena</c:v>
                </c:pt>
                <c:pt idx="3">
                  <c:v>Vichy</c:v>
                </c:pt>
                <c:pt idx="4">
                  <c:v>Photoderm</c:v>
                </c:pt>
                <c:pt idx="5">
                  <c:v>Others Marca Unif.</c:v>
                </c:pt>
                <c:pt idx="6">
                  <c:v>Loreal Paris</c:v>
                </c:pt>
              </c:strCache>
            </c:strRef>
          </c:cat>
          <c:val>
            <c:numRef>
              <c:f>Sheet1!$I$2:$I$8</c:f>
              <c:numCache>
                <c:formatCode>General</c:formatCode>
                <c:ptCount val="7"/>
                <c:pt idx="1">
                  <c:v>438.34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Others Marca Unif.</c:v>
                </c:pt>
              </c:strCache>
            </c:strRef>
          </c:cat>
          <c:val>
            <c:numRef>
              <c:f>Sheet1!$B$2:$B$3</c:f>
              <c:numCache>
                <c:formatCode>General</c:formatCode>
                <c:ptCount val="2"/>
                <c:pt idx="1">
                  <c:v>107.30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Others Marca Unif.</c:v>
                </c:pt>
              </c:strCache>
            </c:strRef>
          </c:cat>
          <c:val>
            <c:numRef>
              <c:f>Sheet1!$C$2:$C$3</c:f>
              <c:numCache>
                <c:formatCode>General</c:formatCode>
                <c:ptCount val="2"/>
                <c:pt idx="0">
                  <c:v>247.9707</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Inds.Lavin De Mexico: All Others</c:v>
                </c:pt>
                <c:pt idx="3">
                  <c:v>Nuvel</c:v>
                </c:pt>
              </c:strCache>
            </c:strRef>
          </c:cat>
          <c:val>
            <c:numRef>
              <c:f>Sheet1!$B$2:$B$5</c:f>
              <c:numCache>
                <c:formatCode>General</c:formatCode>
                <c:ptCount val="4"/>
                <c:pt idx="1">
                  <c:v>184.3407</c:v>
                </c:pt>
                <c:pt idx="3">
                  <c:v>73.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vea</c:v>
                </c:pt>
                <c:pt idx="1">
                  <c:v>Hawaiian Tropic</c:v>
                </c:pt>
                <c:pt idx="2">
                  <c:v>Inds.Lavin De Mexico: All Others</c:v>
                </c:pt>
                <c:pt idx="3">
                  <c:v>Nuvel</c:v>
                </c:pt>
              </c:strCache>
            </c:strRef>
          </c:cat>
          <c:val>
            <c:numRef>
              <c:f>Sheet1!$C$2:$C$5</c:f>
              <c:numCache>
                <c:formatCode>General</c:formatCode>
                <c:ptCount val="4"/>
                <c:pt idx="0">
                  <c:v>180.23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Inds.Lavin De Mexico: All Others</c:v>
                </c:pt>
                <c:pt idx="3">
                  <c:v>Nuvel</c:v>
                </c:pt>
              </c:strCache>
            </c:strRef>
          </c:cat>
          <c:val>
            <c:numRef>
              <c:f>Sheet1!$D$2:$D$5</c:f>
              <c:numCache>
                <c:formatCode>General</c:formatCode>
                <c:ptCount val="4"/>
                <c:pt idx="0">
                  <c:v>234.5583</c:v>
                </c:pt>
                <c:pt idx="2">
                  <c:v>90.29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Inds.Lavin De Mexico: All Others</c:v>
                </c:pt>
                <c:pt idx="3">
                  <c:v>Nuvel</c:v>
                </c:pt>
              </c:strCache>
            </c:strRef>
          </c:cat>
          <c:val>
            <c:numRef>
              <c:f>Sheet1!$E$2:$E$5</c:f>
              <c:numCache>
                <c:formatCode>General</c:formatCode>
                <c:ptCount val="4"/>
                <c:pt idx="1">
                  <c:v>253.228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vea</c:v>
                </c:pt>
                <c:pt idx="1">
                  <c:v>Hawaiian Tropic</c:v>
                </c:pt>
                <c:pt idx="2">
                  <c:v>Inds.Lavin De Mexico: All Others</c:v>
                </c:pt>
                <c:pt idx="3">
                  <c:v>Nuvel</c:v>
                </c:pt>
              </c:strCache>
            </c:strRef>
          </c:cat>
          <c:val>
            <c:numRef>
              <c:f>Sheet1!$F$2:$F$5</c:f>
              <c:numCache>
                <c:formatCode>General</c:formatCode>
                <c:ptCount val="4"/>
                <c:pt idx="0">
                  <c:v>257.736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Inds.Lavin De Mexico: All Others</c:v>
                </c:pt>
                <c:pt idx="3">
                  <c:v>Nuvel</c:v>
                </c:pt>
              </c:strCache>
            </c:strRef>
          </c:cat>
          <c:val>
            <c:numRef>
              <c:f>Sheet1!$G$2:$G$5</c:f>
              <c:numCache>
                <c:formatCode>General</c:formatCode>
                <c:ptCount val="4"/>
                <c:pt idx="1">
                  <c:v>254.26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Inds.Lavin De Mexico: All Others</c:v>
                </c:pt>
                <c:pt idx="3">
                  <c:v>Nuvel</c:v>
                </c:pt>
              </c:strCache>
            </c:strRef>
          </c:cat>
          <c:val>
            <c:numRef>
              <c:f>Sheet1!$H$2:$H$5</c:f>
              <c:numCache>
                <c:formatCode>General</c:formatCode>
                <c:ptCount val="4"/>
                <c:pt idx="0">
                  <c:v>249.071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Inds.Lavin De Mexico: All Others</c:v>
                </c:pt>
                <c:pt idx="3">
                  <c:v>Nuvel</c:v>
                </c:pt>
              </c:strCache>
            </c:strRef>
          </c:cat>
          <c:val>
            <c:numRef>
              <c:f>Sheet1!$I$2:$I$5</c:f>
              <c:numCache>
                <c:formatCode>General</c:formatCode>
                <c:ptCount val="4"/>
                <c:pt idx="0">
                  <c:v>227.931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eutrogena</c:v>
                </c:pt>
                <c:pt idx="1">
                  <c:v>Isdin</c:v>
                </c:pt>
                <c:pt idx="2">
                  <c:v>Loreal Paris</c:v>
                </c:pt>
                <c:pt idx="3">
                  <c:v>Others Marca Unif.</c:v>
                </c:pt>
                <c:pt idx="4">
                  <c:v>La Roche-Posay</c:v>
                </c:pt>
              </c:strCache>
            </c:strRef>
          </c:cat>
          <c:val>
            <c:numRef>
              <c:f>Sheet1!$B$2:$B$6</c:f>
              <c:numCache>
                <c:formatCode>General</c:formatCode>
                <c:ptCount val="5"/>
                <c:pt idx="0">
                  <c:v>223.247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Neutrogena</c:v>
                </c:pt>
                <c:pt idx="1">
                  <c:v>Isdin</c:v>
                </c:pt>
                <c:pt idx="2">
                  <c:v>Loreal Paris</c:v>
                </c:pt>
                <c:pt idx="3">
                  <c:v>Others Marca Unif.</c:v>
                </c:pt>
                <c:pt idx="4">
                  <c:v>La Roche-Posay</c:v>
                </c:pt>
              </c:strCache>
            </c:strRef>
          </c:cat>
          <c:val>
            <c:numRef>
              <c:f>Sheet1!$C$2:$C$6</c:f>
              <c:numCache>
                <c:formatCode>General</c:formatCode>
                <c:ptCount val="5"/>
                <c:pt idx="3">
                  <c:v>143.03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eutrogena</c:v>
                </c:pt>
                <c:pt idx="1">
                  <c:v>Isdin</c:v>
                </c:pt>
                <c:pt idx="2">
                  <c:v>Loreal Paris</c:v>
                </c:pt>
                <c:pt idx="3">
                  <c:v>Others Marca Unif.</c:v>
                </c:pt>
                <c:pt idx="4">
                  <c:v>La Roche-Posay</c:v>
                </c:pt>
              </c:strCache>
            </c:strRef>
          </c:cat>
          <c:val>
            <c:numRef>
              <c:f>Sheet1!$D$2:$D$6</c:f>
              <c:numCache>
                <c:formatCode>General</c:formatCode>
                <c:ptCount val="5"/>
                <c:pt idx="0">
                  <c:v>282.896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Neutrogena</c:v>
                </c:pt>
                <c:pt idx="1">
                  <c:v>Isdin</c:v>
                </c:pt>
                <c:pt idx="2">
                  <c:v>Loreal Paris</c:v>
                </c:pt>
                <c:pt idx="3">
                  <c:v>Others Marca Unif.</c:v>
                </c:pt>
                <c:pt idx="4">
                  <c:v>La Roche-Posay</c:v>
                </c:pt>
              </c:strCache>
            </c:strRef>
          </c:cat>
          <c:val>
            <c:numRef>
              <c:f>Sheet1!$E$2:$E$6</c:f>
              <c:numCache>
                <c:formatCode>General</c:formatCode>
                <c:ptCount val="5"/>
                <c:pt idx="1">
                  <c:v>615.810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Neutrogena</c:v>
                </c:pt>
                <c:pt idx="1">
                  <c:v>Isdin</c:v>
                </c:pt>
                <c:pt idx="2">
                  <c:v>Loreal Paris</c:v>
                </c:pt>
                <c:pt idx="3">
                  <c:v>Others Marca Unif.</c:v>
                </c:pt>
                <c:pt idx="4">
                  <c:v>La Roche-Posay</c:v>
                </c:pt>
              </c:strCache>
            </c:strRef>
          </c:cat>
          <c:val>
            <c:numRef>
              <c:f>Sheet1!$F$2:$F$6</c:f>
              <c:numCache>
                <c:formatCode>General</c:formatCode>
                <c:ptCount val="5"/>
                <c:pt idx="0">
                  <c:v>308.7066</c:v>
                </c:pt>
                <c:pt idx="2">
                  <c:v>246.64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eutrogena</c:v>
                </c:pt>
                <c:pt idx="1">
                  <c:v>Isdin</c:v>
                </c:pt>
                <c:pt idx="2">
                  <c:v>Loreal Paris</c:v>
                </c:pt>
                <c:pt idx="3">
                  <c:v>Others Marca Unif.</c:v>
                </c:pt>
                <c:pt idx="4">
                  <c:v>La Roche-Posay</c:v>
                </c:pt>
              </c:strCache>
            </c:strRef>
          </c:cat>
          <c:val>
            <c:numRef>
              <c:f>Sheet1!$G$2:$G$6</c:f>
              <c:numCache>
                <c:formatCode>General</c:formatCode>
                <c:ptCount val="5"/>
                <c:pt idx="4">
                  <c:v>561.804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Neutrogena</c:v>
                </c:pt>
                <c:pt idx="1">
                  <c:v>Isdin</c:v>
                </c:pt>
                <c:pt idx="2">
                  <c:v>Loreal Paris</c:v>
                </c:pt>
                <c:pt idx="3">
                  <c:v>Others Marca Unif.</c:v>
                </c:pt>
                <c:pt idx="4">
                  <c:v>La Roche-Posay</c:v>
                </c:pt>
              </c:strCache>
            </c:strRef>
          </c:cat>
          <c:val>
            <c:numRef>
              <c:f>Sheet1!$H$2:$H$6</c:f>
              <c:numCache>
                <c:formatCode>General</c:formatCode>
                <c:ptCount val="5"/>
                <c:pt idx="3">
                  <c:v>133.32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Hawaiian Tropic</c:v>
                </c:pt>
                <c:pt idx="1">
                  <c:v>Others Marca Unif.</c:v>
                </c:pt>
              </c:strCache>
            </c:strRef>
          </c:cat>
          <c:val>
            <c:numRef>
              <c:f>Sheet1!$B$2:$B$3</c:f>
              <c:numCache>
                <c:formatCode>General</c:formatCode>
                <c:ptCount val="2"/>
                <c:pt idx="1">
                  <c:v>95.35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Hawaiian Tropic</c:v>
                </c:pt>
                <c:pt idx="1">
                  <c:v>Others Marca Unif.</c:v>
                </c:pt>
              </c:strCache>
            </c:strRef>
          </c:cat>
          <c:val>
            <c:numRef>
              <c:f>Sheet1!$C$2:$C$3</c:f>
              <c:numCache>
                <c:formatCode>General</c:formatCode>
                <c:ptCount val="2"/>
                <c:pt idx="0">
                  <c:v>275.6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Hawaiian Tropic</c:v>
                </c:pt>
                <c:pt idx="1">
                  <c:v>Others Marca Unif.</c:v>
                </c:pt>
              </c:strCache>
            </c:strRef>
          </c:cat>
          <c:val>
            <c:numRef>
              <c:f>Sheet1!$D$2:$D$3</c:f>
              <c:numCache>
                <c:formatCode>General</c:formatCode>
                <c:ptCount val="2"/>
                <c:pt idx="0">
                  <c:v>247.526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Inds.Lavin De Mexico: All Others</c:v>
                </c:pt>
              </c:strCache>
            </c:strRef>
          </c:cat>
          <c:val>
            <c:numRef>
              <c:f>Sheet1!$B$2:$B$5</c:f>
              <c:numCache>
                <c:formatCode>General</c:formatCode>
                <c:ptCount val="4"/>
                <c:pt idx="1">
                  <c:v>182.2254</c:v>
                </c:pt>
                <c:pt idx="2">
                  <c:v>74.44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vea</c:v>
                </c:pt>
                <c:pt idx="1">
                  <c:v>Hawaiian Tropic</c:v>
                </c:pt>
                <c:pt idx="2">
                  <c:v>Nuvel</c:v>
                </c:pt>
                <c:pt idx="3">
                  <c:v>Inds.Lavin De Mexico: All Others</c:v>
                </c:pt>
              </c:strCache>
            </c:strRef>
          </c:cat>
          <c:val>
            <c:numRef>
              <c:f>Sheet1!$C$2:$C$5</c:f>
              <c:numCache>
                <c:formatCode>General</c:formatCode>
                <c:ptCount val="4"/>
                <c:pt idx="0">
                  <c:v>176.155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Inds.Lavin De Mexico: All Others</c:v>
                </c:pt>
              </c:strCache>
            </c:strRef>
          </c:cat>
          <c:val>
            <c:numRef>
              <c:f>Sheet1!$D$2:$D$5</c:f>
              <c:numCache>
                <c:formatCode>General</c:formatCode>
                <c:ptCount val="4"/>
                <c:pt idx="0">
                  <c:v>254.3492</c:v>
                </c:pt>
                <c:pt idx="3">
                  <c:v>90.046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Inds.Lavin De Mexico: All Others</c:v>
                </c:pt>
              </c:strCache>
            </c:strRef>
          </c:cat>
          <c:val>
            <c:numRef>
              <c:f>Sheet1!$E$2:$E$5</c:f>
              <c:numCache>
                <c:formatCode>General</c:formatCode>
                <c:ptCount val="4"/>
                <c:pt idx="1">
                  <c:v>270.2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Nivea</c:v>
                </c:pt>
                <c:pt idx="1">
                  <c:v>Hawaiian Tropic</c:v>
                </c:pt>
                <c:pt idx="2">
                  <c:v>Nuvel</c:v>
                </c:pt>
                <c:pt idx="3">
                  <c:v>Inds.Lavin De Mexico: All Others</c:v>
                </c:pt>
              </c:strCache>
            </c:strRef>
          </c:cat>
          <c:val>
            <c:numRef>
              <c:f>Sheet1!$F$2:$F$5</c:f>
              <c:numCache>
                <c:formatCode>General</c:formatCode>
                <c:ptCount val="4"/>
                <c:pt idx="0">
                  <c:v>260.53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Inds.Lavin De Mexico: All Others</c:v>
                </c:pt>
              </c:strCache>
            </c:strRef>
          </c:cat>
          <c:val>
            <c:numRef>
              <c:f>Sheet1!$G$2:$G$5</c:f>
              <c:numCache>
                <c:formatCode>General</c:formatCode>
                <c:ptCount val="4"/>
                <c:pt idx="1">
                  <c:v>255.53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Inds.Lavin De Mexico: All Others</c:v>
                </c:pt>
              </c:strCache>
            </c:strRef>
          </c:cat>
          <c:val>
            <c:numRef>
              <c:f>Sheet1!$H$2:$H$5</c:f>
              <c:numCache>
                <c:formatCode>General</c:formatCode>
                <c:ptCount val="4"/>
                <c:pt idx="0">
                  <c:v>245.961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Nivea</c:v>
                </c:pt>
                <c:pt idx="1">
                  <c:v>Hawaiian Tropic</c:v>
                </c:pt>
                <c:pt idx="2">
                  <c:v>Nuvel</c:v>
                </c:pt>
                <c:pt idx="3">
                  <c:v>Inds.Lavin De Mexico: All Others</c:v>
                </c:pt>
              </c:strCache>
            </c:strRef>
          </c:cat>
          <c:val>
            <c:numRef>
              <c:f>Sheet1!$I$2:$I$5</c:f>
              <c:numCache>
                <c:formatCode>General</c:formatCode>
                <c:ptCount val="4"/>
                <c:pt idx="0">
                  <c:v>229.56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Nivea</c:v>
                </c:pt>
                <c:pt idx="1">
                  <c:v>Hawaiian Tropic</c:v>
                </c:pt>
                <c:pt idx="2">
                  <c:v>Nuvel</c:v>
                </c:pt>
                <c:pt idx="3">
                  <c:v>Inds.Lavin De Mexico: All Others</c:v>
                </c:pt>
              </c:strCache>
            </c:strRef>
          </c:cat>
          <c:val>
            <c:numRef>
              <c:f>Sheet1!$J$2:$J$5</c:f>
              <c:numCache>
                <c:formatCode>General</c:formatCode>
                <c:ptCount val="4"/>
                <c:pt idx="1">
                  <c:v>97.196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A578B3-32D5-4556-A730-316664CB9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A60530-959A-4D99-A328-ADAA75629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2202C6-B10C-4982-BAB7-32E06661F2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4CF90B-33E8-49F0-B7FC-05595D254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2BA942-F035-44A3-97D4-3E911F12A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A87A63-D92C-43AF-9AA0-1425C11EA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E957B9-B744-48AE-A05C-252CC8857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43E9D8-BEBF-4DEB-89CD-9E06A9782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94.1848</c:v>
                </c:pt>
                <c:pt idx="1">
                  <c:v>451.1489</c:v>
                </c:pt>
                <c:pt idx="2">
                  <c:v>292.351</c:v>
                </c:pt>
                <c:pt idx="3">
                  <c:v>398.2336</c:v>
                </c:pt>
                <c:pt idx="4">
                  <c:v>277.202</c:v>
                </c:pt>
                <c:pt idx="5">
                  <c:v>444.8215</c:v>
                </c:pt>
              </c:numCache>
            </c:numRef>
          </c:xVal>
          <c:yVal>
            <c:numRef>
              <c:f>Sheet1!$B$2:$B$7</c:f>
              <c:numCache>
                <c:formatCode>General</c:formatCode>
                <c:ptCount val="6"/>
                <c:pt idx="0">
                  <c:v>1.911</c:v>
                </c:pt>
                <c:pt idx="1">
                  <c:v>1.387</c:v>
                </c:pt>
                <c:pt idx="2">
                  <c:v>0.642</c:v>
                </c:pt>
                <c:pt idx="3">
                  <c:v>0.9</c:v>
                </c:pt>
                <c:pt idx="4">
                  <c:v>1.534</c:v>
                </c:pt>
                <c:pt idx="5">
                  <c:v>0.372</c:v>
                </c:pt>
              </c:numCache>
            </c:numRef>
          </c:yVal>
          <c:bubbleSize>
            <c:numRef>
              <c:f>Sheet1!$C$2:$C$7</c:f>
              <c:numCache>
                <c:formatCode>General</c:formatCode>
                <c:ptCount val="6"/>
                <c:pt idx="0">
                  <c:v>4965545</c:v>
                </c:pt>
                <c:pt idx="1">
                  <c:v>2807951</c:v>
                </c:pt>
                <c:pt idx="2">
                  <c:v>1714346</c:v>
                </c:pt>
                <c:pt idx="3">
                  <c:v>1174789</c:v>
                </c:pt>
                <c:pt idx="4">
                  <c:v>469303</c:v>
                </c:pt>
                <c:pt idx="5">
                  <c:v>36386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41.0"/>
          <c:min val="22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B$2:$B$7</c:f>
              <c:numCache>
                <c:formatCode>General</c:formatCode>
                <c:ptCount val="6"/>
                <c:pt idx="0">
                  <c:v>438.25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Neutrogena</c:v>
                </c:pt>
                <c:pt idx="2">
                  <c:v>La Roche-Posay</c:v>
                </c:pt>
                <c:pt idx="3">
                  <c:v>Loreal Paris</c:v>
                </c:pt>
                <c:pt idx="4">
                  <c:v>Others Marca Unif.</c:v>
                </c:pt>
                <c:pt idx="5">
                  <c:v>Photoderm</c:v>
                </c:pt>
              </c:strCache>
            </c:strRef>
          </c:cat>
          <c:val>
            <c:numRef>
              <c:f>Sheet1!$C$2:$C$7</c:f>
              <c:numCache>
                <c:formatCode>General</c:formatCode>
                <c:ptCount val="6"/>
                <c:pt idx="1">
                  <c:v>226.399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D$2:$D$7</c:f>
              <c:numCache>
                <c:formatCode>General</c:formatCode>
                <c:ptCount val="6"/>
                <c:pt idx="4">
                  <c:v>143.63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E$2:$E$7</c:f>
              <c:numCache>
                <c:formatCode>General</c:formatCode>
                <c:ptCount val="6"/>
                <c:pt idx="0">
                  <c:v>606.7603</c:v>
                </c:pt>
                <c:pt idx="1">
                  <c:v>305.26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Isdin</c:v>
                </c:pt>
                <c:pt idx="1">
                  <c:v>Neutrogena</c:v>
                </c:pt>
                <c:pt idx="2">
                  <c:v>La Roche-Posay</c:v>
                </c:pt>
                <c:pt idx="3">
                  <c:v>Loreal Paris</c:v>
                </c:pt>
                <c:pt idx="4">
                  <c:v>Others Marca Unif.</c:v>
                </c:pt>
                <c:pt idx="5">
                  <c:v>Photoderm</c:v>
                </c:pt>
              </c:strCache>
            </c:strRef>
          </c:cat>
          <c:val>
            <c:numRef>
              <c:f>Sheet1!$F$2:$F$7</c:f>
              <c:numCache>
                <c:formatCode>General</c:formatCode>
                <c:ptCount val="6"/>
                <c:pt idx="0">
                  <c:v>609.599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G$2:$G$7</c:f>
              <c:numCache>
                <c:formatCode>General</c:formatCode>
                <c:ptCount val="6"/>
                <c:pt idx="1">
                  <c:v>304.5218</c:v>
                </c:pt>
                <c:pt idx="3">
                  <c:v>242.7213</c:v>
                </c:pt>
                <c:pt idx="5">
                  <c:v>568.540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H$2:$H$7</c:f>
              <c:numCache>
                <c:formatCode>General</c:formatCode>
                <c:ptCount val="6"/>
                <c:pt idx="0">
                  <c:v>601.1752</c:v>
                </c:pt>
                <c:pt idx="2">
                  <c:v>587.003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6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I$2:$I$7</c:f>
              <c:numCache>
                <c:formatCode>General</c:formatCode>
                <c:ptCount val="6"/>
                <c:pt idx="4">
                  <c:v>128.115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Isdin</c:v>
                </c:pt>
                <c:pt idx="1">
                  <c:v>Neutrogena</c:v>
                </c:pt>
                <c:pt idx="2">
                  <c:v>La Roche-Posay</c:v>
                </c:pt>
                <c:pt idx="3">
                  <c:v>Loreal Paris</c:v>
                </c:pt>
                <c:pt idx="4">
                  <c:v>Others Marca Unif.</c:v>
                </c:pt>
                <c:pt idx="5">
                  <c:v>Photoderm</c:v>
                </c:pt>
              </c:strCache>
            </c:strRef>
          </c:cat>
          <c:val>
            <c:numRef>
              <c:f>Sheet1!$J$2:$J$7</c:f>
              <c:numCache>
                <c:formatCode>General</c:formatCode>
                <c:ptCount val="6"/>
                <c:pt idx="2">
                  <c:v>469.76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09.2717</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B$2:$B$4</c:f>
              <c:numCache>
                <c:formatCode>General</c:formatCode>
                <c:ptCount val="3"/>
                <c:pt idx="1">
                  <c:v>182.7327</c:v>
                </c:pt>
                <c:pt idx="2">
                  <c:v>74.82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C$2:$C$4</c:f>
              <c:numCache>
                <c:formatCode>General</c:formatCode>
                <c:ptCount val="3"/>
                <c:pt idx="0">
                  <c:v>177.10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D$2:$D$4</c:f>
              <c:numCache>
                <c:formatCode>General</c:formatCode>
                <c:ptCount val="3"/>
                <c:pt idx="0">
                  <c:v>263.8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E$2:$E$4</c:f>
              <c:numCache>
                <c:formatCode>General</c:formatCode>
                <c:ptCount val="3"/>
                <c:pt idx="1">
                  <c:v>287.175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F$2:$F$4</c:f>
              <c:numCache>
                <c:formatCode>General</c:formatCode>
                <c:ptCount val="3"/>
                <c:pt idx="0">
                  <c:v>266.93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G$2:$G$4</c:f>
              <c:numCache>
                <c:formatCode>General</c:formatCode>
                <c:ptCount val="3"/>
                <c:pt idx="1">
                  <c:v>264.22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H$2:$H$4</c:f>
              <c:numCache>
                <c:formatCode>General</c:formatCode>
                <c:ptCount val="3"/>
                <c:pt idx="0">
                  <c:v>245.404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I$2:$I$4</c:f>
              <c:numCache>
                <c:formatCode>General</c:formatCode>
                <c:ptCount val="3"/>
                <c:pt idx="0">
                  <c:v>234.662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J$2:$J$4</c:f>
              <c:numCache>
                <c:formatCode>General</c:formatCode>
                <c:ptCount val="3"/>
                <c:pt idx="1">
                  <c:v>96.577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B$2:$B$8</c:f>
              <c:numCache>
                <c:formatCode>General</c:formatCode>
                <c:ptCount val="7"/>
                <c:pt idx="0">
                  <c:v>434.10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C$2:$C$8</c:f>
              <c:numCache>
                <c:formatCode>General</c:formatCode>
                <c:ptCount val="7"/>
                <c:pt idx="1">
                  <c:v>226.57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D$2:$D$8</c:f>
              <c:numCache>
                <c:formatCode>General</c:formatCode>
                <c:ptCount val="7"/>
                <c:pt idx="3">
                  <c:v>147.150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E$2:$E$8</c:f>
              <c:numCache>
                <c:formatCode>General</c:formatCode>
                <c:ptCount val="7"/>
                <c:pt idx="0">
                  <c:v>603.2171</c:v>
                </c:pt>
                <c:pt idx="1">
                  <c:v>312.66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F$2:$F$8</c:f>
              <c:numCache>
                <c:formatCode>General</c:formatCode>
                <c:ptCount val="7"/>
                <c:pt idx="0">
                  <c:v>608.715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G$2:$G$8</c:f>
              <c:numCache>
                <c:formatCode>General</c:formatCode>
                <c:ptCount val="7"/>
                <c:pt idx="6">
                  <c:v>771.688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H$2:$H$8</c:f>
              <c:numCache>
                <c:formatCode>General</c:formatCode>
                <c:ptCount val="7"/>
                <c:pt idx="1">
                  <c:v>309.5965</c:v>
                </c:pt>
                <c:pt idx="4">
                  <c:v>250.7872</c:v>
                </c:pt>
                <c:pt idx="5">
                  <c:v>534.44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I$2:$I$8</c:f>
              <c:numCache>
                <c:formatCode>General</c:formatCode>
                <c:ptCount val="7"/>
                <c:pt idx="0">
                  <c:v>592.2389</c:v>
                </c:pt>
                <c:pt idx="2">
                  <c:v>577.738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J$2:$J$8</c:f>
              <c:numCache>
                <c:formatCode>General</c:formatCode>
                <c:ptCount val="7"/>
                <c:pt idx="3">
                  <c:v>126.388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5ML</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Isdin</c:v>
                </c:pt>
                <c:pt idx="1">
                  <c:v>Neutrogena</c:v>
                </c:pt>
                <c:pt idx="2">
                  <c:v>La Roche-Posay</c:v>
                </c:pt>
                <c:pt idx="3">
                  <c:v>Others Marca Unif.</c:v>
                </c:pt>
                <c:pt idx="4">
                  <c:v>Loreal Paris</c:v>
                </c:pt>
                <c:pt idx="5">
                  <c:v>Photoderm</c:v>
                </c:pt>
                <c:pt idx="6">
                  <c:v>Vichy</c:v>
                </c:pt>
              </c:strCache>
            </c:strRef>
          </c:cat>
          <c:val>
            <c:numRef>
              <c:f>Sheet1!$K$2:$K$8</c:f>
              <c:numCache>
                <c:formatCode>General</c:formatCode>
                <c:ptCount val="7"/>
                <c:pt idx="2">
                  <c:v>476.410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11.8824</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B$2:$B$4</c:f>
              <c:numCache>
                <c:formatCode>General</c:formatCode>
                <c:ptCount val="3"/>
                <c:pt idx="2">
                  <c:v>73.08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C$2:$C$4</c:f>
              <c:numCache>
                <c:formatCode>General</c:formatCode>
                <c:ptCount val="3"/>
                <c:pt idx="0">
                  <c:v>166.521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D$2:$D$4</c:f>
              <c:numCache>
                <c:formatCode>General</c:formatCode>
                <c:ptCount val="3"/>
                <c:pt idx="0">
                  <c:v>270.78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E$2:$E$4</c:f>
              <c:numCache>
                <c:formatCode>General</c:formatCode>
                <c:ptCount val="3"/>
                <c:pt idx="1">
                  <c:v>284.4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Hawaiian Tropic</c:v>
                </c:pt>
                <c:pt idx="2">
                  <c:v>Nuvel</c:v>
                </c:pt>
              </c:strCache>
            </c:strRef>
          </c:cat>
          <c:val>
            <c:numRef>
              <c:f>Sheet1!$F$2:$F$4</c:f>
              <c:numCache>
                <c:formatCode>General</c:formatCode>
                <c:ptCount val="3"/>
                <c:pt idx="0">
                  <c:v>271.18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G$2:$G$4</c:f>
              <c:numCache>
                <c:formatCode>General</c:formatCode>
                <c:ptCount val="3"/>
                <c:pt idx="1">
                  <c:v>275.230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H$2:$H$4</c:f>
              <c:numCache>
                <c:formatCode>General</c:formatCode>
                <c:ptCount val="3"/>
                <c:pt idx="1">
                  <c:v>261.95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Hawaiian Tropic</c:v>
                </c:pt>
                <c:pt idx="2">
                  <c:v>Nuvel</c:v>
                </c:pt>
              </c:strCache>
            </c:strRef>
          </c:cat>
          <c:val>
            <c:numRef>
              <c:f>Sheet1!$I$2:$I$4</c:f>
              <c:numCache>
                <c:formatCode>General</c:formatCode>
                <c:ptCount val="3"/>
                <c:pt idx="0">
                  <c:v>247.24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Hawaiian Tropic</c:v>
                </c:pt>
                <c:pt idx="2">
                  <c:v>Nuvel</c:v>
                </c:pt>
              </c:strCache>
            </c:strRef>
          </c:cat>
          <c:val>
            <c:numRef>
              <c:f>Sheet1!$J$2:$J$4</c:f>
              <c:numCache>
                <c:formatCode>General</c:formatCode>
                <c:ptCount val="3"/>
                <c:pt idx="0">
                  <c:v>234.9486</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Others Marca Unif.</c:v>
                </c:pt>
                <c:pt idx="4">
                  <c:v>Loreal Paris</c:v>
                </c:pt>
                <c:pt idx="5">
                  <c:v>Photoderm</c:v>
                </c:pt>
              </c:strCache>
            </c:strRef>
          </c:cat>
          <c:val>
            <c:numRef>
              <c:f>Sheet1!$B$2:$B$7</c:f>
              <c:numCache>
                <c:formatCode>General</c:formatCode>
                <c:ptCount val="6"/>
                <c:pt idx="0">
                  <c:v>221.26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eutrogena</c:v>
                </c:pt>
                <c:pt idx="1">
                  <c:v>Isdin</c:v>
                </c:pt>
                <c:pt idx="2">
                  <c:v>La Roche-Posay</c:v>
                </c:pt>
                <c:pt idx="3">
                  <c:v>Others Marca Unif.</c:v>
                </c:pt>
                <c:pt idx="4">
                  <c:v>Loreal Paris</c:v>
                </c:pt>
                <c:pt idx="5">
                  <c:v>Photoderm</c:v>
                </c:pt>
              </c:strCache>
            </c:strRef>
          </c:cat>
          <c:val>
            <c:numRef>
              <c:f>Sheet1!$C$2:$C$7</c:f>
              <c:numCache>
                <c:formatCode>General</c:formatCode>
                <c:ptCount val="6"/>
                <c:pt idx="3">
                  <c:v>139.44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Paris</c:v>
                </c:pt>
                <c:pt idx="5">
                  <c:v>Photoderm</c:v>
                </c:pt>
              </c:strCache>
            </c:strRef>
          </c:cat>
          <c:val>
            <c:numRef>
              <c:f>Sheet1!$D$2:$D$7</c:f>
              <c:numCache>
                <c:formatCode>General</c:formatCode>
                <c:ptCount val="6"/>
                <c:pt idx="0">
                  <c:v>316.8095</c:v>
                </c:pt>
                <c:pt idx="1">
                  <c:v>594.680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Paris</c:v>
                </c:pt>
                <c:pt idx="5">
                  <c:v>Photoderm</c:v>
                </c:pt>
              </c:strCache>
            </c:strRef>
          </c:cat>
          <c:val>
            <c:numRef>
              <c:f>Sheet1!$E$2:$E$7</c:f>
              <c:numCache>
                <c:formatCode>General</c:formatCode>
                <c:ptCount val="6"/>
                <c:pt idx="1">
                  <c:v>615.63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Neutrogena</c:v>
                </c:pt>
                <c:pt idx="1">
                  <c:v>Isdin</c:v>
                </c:pt>
                <c:pt idx="2">
                  <c:v>La Roche-Posay</c:v>
                </c:pt>
                <c:pt idx="3">
                  <c:v>Others Marca Unif.</c:v>
                </c:pt>
                <c:pt idx="4">
                  <c:v>Loreal Paris</c:v>
                </c:pt>
                <c:pt idx="5">
                  <c:v>Photoderm</c:v>
                </c:pt>
              </c:strCache>
            </c:strRef>
          </c:cat>
          <c:val>
            <c:numRef>
              <c:f>Sheet1!$F$2:$F$7</c:f>
              <c:numCache>
                <c:formatCode>General</c:formatCode>
                <c:ptCount val="6"/>
                <c:pt idx="0">
                  <c:v>309.9196</c:v>
                </c:pt>
                <c:pt idx="4">
                  <c:v>249.0982</c:v>
                </c:pt>
                <c:pt idx="5">
                  <c:v>440.01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Others Marca Unif.</c:v>
                </c:pt>
                <c:pt idx="4">
                  <c:v>Loreal Paris</c:v>
                </c:pt>
                <c:pt idx="5">
                  <c:v>Photoderm</c:v>
                </c:pt>
              </c:strCache>
            </c:strRef>
          </c:cat>
          <c:val>
            <c:numRef>
              <c:f>Sheet1!$G$2:$G$7</c:f>
              <c:numCache>
                <c:formatCode>General</c:formatCode>
                <c:ptCount val="6"/>
                <c:pt idx="2">
                  <c:v>552.533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Neutrogena</c:v>
                </c:pt>
                <c:pt idx="1">
                  <c:v>Isdin</c:v>
                </c:pt>
                <c:pt idx="2">
                  <c:v>La Roche-Posay</c:v>
                </c:pt>
                <c:pt idx="3">
                  <c:v>Others Marca Unif.</c:v>
                </c:pt>
                <c:pt idx="4">
                  <c:v>Loreal Paris</c:v>
                </c:pt>
                <c:pt idx="5">
                  <c:v>Photoderm</c:v>
                </c:pt>
              </c:strCache>
            </c:strRef>
          </c:cat>
          <c:val>
            <c:numRef>
              <c:f>Sheet1!$H$2:$H$7</c:f>
              <c:numCache>
                <c:formatCode>General</c:formatCode>
                <c:ptCount val="6"/>
                <c:pt idx="3">
                  <c:v>110.946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Neutrogena</c:v>
                </c:pt>
                <c:pt idx="1">
                  <c:v>Isdin</c:v>
                </c:pt>
                <c:pt idx="2">
                  <c:v>La Roche-Posay</c:v>
                </c:pt>
                <c:pt idx="3">
                  <c:v>Others Marca Unif.</c:v>
                </c:pt>
                <c:pt idx="4">
                  <c:v>Loreal Paris</c:v>
                </c:pt>
                <c:pt idx="5">
                  <c:v>Photoderm</c:v>
                </c:pt>
              </c:strCache>
            </c:strRef>
          </c:cat>
          <c:val>
            <c:numRef>
              <c:f>Sheet1!$I$2:$I$7</c:f>
              <c:numCache>
                <c:formatCode>General</c:formatCode>
                <c:ptCount val="6"/>
                <c:pt idx="2">
                  <c:v>486.162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12.427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B$2:$B$10</c:f>
              <c:numCache>
                <c:formatCode>General</c:formatCode>
                <c:ptCount val="9"/>
                <c:pt idx="1">
                  <c:v>224.5177</c:v>
                </c:pt>
                <c:pt idx="2">
                  <c:v>180.8262</c:v>
                </c:pt>
                <c:pt idx="5">
                  <c:v>74.36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C$2:$C$10</c:f>
              <c:numCache>
                <c:formatCode>General</c:formatCode>
                <c:ptCount val="9"/>
                <c:pt idx="0">
                  <c:v>244.7949</c:v>
                </c:pt>
                <c:pt idx="1">
                  <c:v>304.4295</c:v>
                </c:pt>
                <c:pt idx="4">
                  <c:v>104.74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D$2:$D$10</c:f>
              <c:numCache>
                <c:formatCode>General</c:formatCode>
                <c:ptCount val="9"/>
                <c:pt idx="2">
                  <c:v>261.406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E$2:$E$10</c:f>
              <c:numCache>
                <c:formatCode>General</c:formatCode>
                <c:ptCount val="9"/>
                <c:pt idx="0">
                  <c:v>247.3412</c:v>
                </c:pt>
                <c:pt idx="1">
                  <c:v>306.6436</c:v>
                </c:pt>
                <c:pt idx="6">
                  <c:v>185.826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F$2:$F$10</c:f>
              <c:numCache>
                <c:formatCode>General</c:formatCode>
                <c:ptCount val="9"/>
                <c:pt idx="0">
                  <c:v>231.7299</c:v>
                </c:pt>
                <c:pt idx="3">
                  <c:v>583.2216</c:v>
                </c:pt>
                <c:pt idx="7">
                  <c:v>590.6879</c:v>
                </c:pt>
                <c:pt idx="8">
                  <c:v>608.7547</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175.096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57.537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387A77-5A2E-46DB-8BBA-905E9FE28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A18A47-BF8A-40C6-8DD3-321AB0451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F15B09-C9A8-48C0-B602-FB959FB3D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DDE9B3-A610-4A6B-9807-A677E857B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173E9F-0239-4D4F-8F5B-4523AEF101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19E97B-D272-41D1-A9A5-D49FA1FC0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D6809A-A587-4680-86EC-46733C823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E2E3E54-98F0-433E-87A5-4288FAF87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33.9455</c:v>
                </c:pt>
                <c:pt idx="1">
                  <c:v>242.2634</c:v>
                </c:pt>
                <c:pt idx="2">
                  <c:v>210.5241</c:v>
                </c:pt>
                <c:pt idx="3">
                  <c:v>685.8738</c:v>
                </c:pt>
              </c:numCache>
            </c:numRef>
          </c:xVal>
          <c:yVal>
            <c:numRef>
              <c:f>Sheet1!$B$2:$B$5</c:f>
              <c:numCache>
                <c:formatCode>General</c:formatCode>
                <c:ptCount val="4"/>
                <c:pt idx="0">
                  <c:v>0.957</c:v>
                </c:pt>
                <c:pt idx="1">
                  <c:v>1.175</c:v>
                </c:pt>
                <c:pt idx="2">
                  <c:v>0.847</c:v>
                </c:pt>
                <c:pt idx="3">
                  <c:v>3.523</c:v>
                </c:pt>
              </c:numCache>
            </c:numRef>
          </c:yVal>
          <c:bubbleSize>
            <c:numRef>
              <c:f>Sheet1!$C$2:$C$5</c:f>
              <c:numCache>
                <c:formatCode>General</c:formatCode>
                <c:ptCount val="4"/>
                <c:pt idx="0">
                  <c:v>1245526</c:v>
                </c:pt>
                <c:pt idx="1">
                  <c:v>462723</c:v>
                </c:pt>
                <c:pt idx="2">
                  <c:v>414943</c:v>
                </c:pt>
                <c:pt idx="3">
                  <c:v>7064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3.0"/>
          <c:min val="1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hotoderm</c:v>
                </c:pt>
              </c:strCache>
            </c:strRef>
          </c:cat>
          <c:val>
            <c:numRef>
              <c:f>Sheet1!$B$2:$B$2</c:f>
              <c:numCache>
                <c:formatCode>General</c:formatCode>
                <c:ptCount val="1"/>
                <c:pt idx="0">
                  <c:v>567.201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43.3535</c:v>
                </c:pt>
                <c:pt idx="1">
                  <c:v>369.1292</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Neutrogena</c:v>
                </c:pt>
                <c:pt idx="2">
                  <c:v>Hawaiian Tropic</c:v>
                </c:pt>
                <c:pt idx="3">
                  <c:v>Isdin</c:v>
                </c:pt>
                <c:pt idx="4">
                  <c:v>Nuvel</c:v>
                </c:pt>
                <c:pt idx="5">
                  <c:v>Garnier</c:v>
                </c:pt>
                <c:pt idx="6">
                  <c:v>Eucerin</c:v>
                </c:pt>
              </c:strCache>
            </c:strRef>
          </c:cat>
          <c:val>
            <c:numRef>
              <c:f>Sheet1!$B$2:$B$8</c:f>
              <c:numCache>
                <c:formatCode>General</c:formatCode>
                <c:ptCount val="7"/>
                <c:pt idx="1">
                  <c:v>227.1893</c:v>
                </c:pt>
                <c:pt idx="2">
                  <c:v>183.5329</c:v>
                </c:pt>
                <c:pt idx="4">
                  <c:v>74.712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Neutrogena</c:v>
                </c:pt>
                <c:pt idx="2">
                  <c:v>Hawaiian Tropic</c:v>
                </c:pt>
                <c:pt idx="3">
                  <c:v>Isdin</c:v>
                </c:pt>
                <c:pt idx="4">
                  <c:v>Nuvel</c:v>
                </c:pt>
                <c:pt idx="5">
                  <c:v>Garnier</c:v>
                </c:pt>
                <c:pt idx="6">
                  <c:v>Eucerin</c:v>
                </c:pt>
              </c:strCache>
            </c:strRef>
          </c:cat>
          <c:val>
            <c:numRef>
              <c:f>Sheet1!$C$2:$C$8</c:f>
              <c:numCache>
                <c:formatCode>General</c:formatCode>
                <c:ptCount val="7"/>
                <c:pt idx="0">
                  <c:v>245.9983</c:v>
                </c:pt>
                <c:pt idx="1">
                  <c:v>302.36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Hawaiian Tropic</c:v>
                </c:pt>
                <c:pt idx="3">
                  <c:v>Isdin</c:v>
                </c:pt>
                <c:pt idx="4">
                  <c:v>Nuvel</c:v>
                </c:pt>
                <c:pt idx="5">
                  <c:v>Garnier</c:v>
                </c:pt>
                <c:pt idx="6">
                  <c:v>Eucerin</c:v>
                </c:pt>
              </c:strCache>
            </c:strRef>
          </c:cat>
          <c:val>
            <c:numRef>
              <c:f>Sheet1!$D$2:$D$8</c:f>
              <c:numCache>
                <c:formatCode>General</c:formatCode>
                <c:ptCount val="7"/>
                <c:pt idx="2">
                  <c:v>26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Neutrogena</c:v>
                </c:pt>
                <c:pt idx="2">
                  <c:v>Hawaiian Tropic</c:v>
                </c:pt>
                <c:pt idx="3">
                  <c:v>Isdin</c:v>
                </c:pt>
                <c:pt idx="4">
                  <c:v>Nuvel</c:v>
                </c:pt>
                <c:pt idx="5">
                  <c:v>Garnier</c:v>
                </c:pt>
                <c:pt idx="6">
                  <c:v>Eucerin</c:v>
                </c:pt>
              </c:strCache>
            </c:strRef>
          </c:cat>
          <c:val>
            <c:numRef>
              <c:f>Sheet1!$E$2:$E$8</c:f>
              <c:numCache>
                <c:formatCode>General</c:formatCode>
                <c:ptCount val="7"/>
                <c:pt idx="0">
                  <c:v>246.8316</c:v>
                </c:pt>
                <c:pt idx="1">
                  <c:v>304.1184</c:v>
                </c:pt>
                <c:pt idx="5">
                  <c:v>185.50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Neutrogena</c:v>
                </c:pt>
                <c:pt idx="2">
                  <c:v>Hawaiian Tropic</c:v>
                </c:pt>
                <c:pt idx="3">
                  <c:v>Isdin</c:v>
                </c:pt>
                <c:pt idx="4">
                  <c:v>Nuvel</c:v>
                </c:pt>
                <c:pt idx="5">
                  <c:v>Garnier</c:v>
                </c:pt>
                <c:pt idx="6">
                  <c:v>Eucerin</c:v>
                </c:pt>
              </c:strCache>
            </c:strRef>
          </c:cat>
          <c:val>
            <c:numRef>
              <c:f>Sheet1!$F$2:$F$8</c:f>
              <c:numCache>
                <c:formatCode>General</c:formatCode>
                <c:ptCount val="7"/>
                <c:pt idx="0">
                  <c:v>229.9332</c:v>
                </c:pt>
                <c:pt idx="3">
                  <c:v>605.1103</c:v>
                </c:pt>
                <c:pt idx="6">
                  <c:v>587.202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176.55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57.25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258.36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58.56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63.494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Garnier</c:v>
                </c:pt>
              </c:strCache>
            </c:strRef>
          </c:cat>
          <c:val>
            <c:numRef>
              <c:f>Sheet1!$B$2:$B$9</c:f>
              <c:numCache>
                <c:formatCode>General</c:formatCode>
                <c:ptCount val="8"/>
                <c:pt idx="2">
                  <c:v>220.2445</c:v>
                </c:pt>
                <c:pt idx="3">
                  <c:v>176.93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Isdin</c:v>
                </c:pt>
                <c:pt idx="2">
                  <c:v>Neutrogena</c:v>
                </c:pt>
                <c:pt idx="3">
                  <c:v>Hawaiian Tropic</c:v>
                </c:pt>
                <c:pt idx="4">
                  <c:v>Others Marca Unif.</c:v>
                </c:pt>
                <c:pt idx="5">
                  <c:v>La Roche-Posay</c:v>
                </c:pt>
                <c:pt idx="6">
                  <c:v>Eucerin</c:v>
                </c:pt>
                <c:pt idx="7">
                  <c:v>Garnier</c:v>
                </c:pt>
              </c:strCache>
            </c:strRef>
          </c:cat>
          <c:val>
            <c:numRef>
              <c:f>Sheet1!$C$2:$C$9</c:f>
              <c:numCache>
                <c:formatCode>General</c:formatCode>
                <c:ptCount val="8"/>
                <c:pt idx="0">
                  <c:v>247.528</c:v>
                </c:pt>
                <c:pt idx="2">
                  <c:v>311.4334</c:v>
                </c:pt>
                <c:pt idx="4">
                  <c:v>112.96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Garnier</c:v>
                </c:pt>
              </c:strCache>
            </c:strRef>
          </c:cat>
          <c:val>
            <c:numRef>
              <c:f>Sheet1!$D$2:$D$9</c:f>
              <c:numCache>
                <c:formatCode>General</c:formatCode>
                <c:ptCount val="8"/>
                <c:pt idx="3">
                  <c:v>257.465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Isdin</c:v>
                </c:pt>
                <c:pt idx="2">
                  <c:v>Neutrogena</c:v>
                </c:pt>
                <c:pt idx="3">
                  <c:v>Hawaiian Tropic</c:v>
                </c:pt>
                <c:pt idx="4">
                  <c:v>Others Marca Unif.</c:v>
                </c:pt>
                <c:pt idx="5">
                  <c:v>La Roche-Posay</c:v>
                </c:pt>
                <c:pt idx="6">
                  <c:v>Eucerin</c:v>
                </c:pt>
                <c:pt idx="7">
                  <c:v>Garnier</c:v>
                </c:pt>
              </c:strCache>
            </c:strRef>
          </c:cat>
          <c:val>
            <c:numRef>
              <c:f>Sheet1!$E$2:$E$9</c:f>
              <c:numCache>
                <c:formatCode>General</c:formatCode>
                <c:ptCount val="8"/>
                <c:pt idx="0">
                  <c:v>246.9731</c:v>
                </c:pt>
                <c:pt idx="2">
                  <c:v>306.8261</c:v>
                </c:pt>
                <c:pt idx="7">
                  <c:v>183.759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Isdin</c:v>
                </c:pt>
                <c:pt idx="2">
                  <c:v>Neutrogena</c:v>
                </c:pt>
                <c:pt idx="3">
                  <c:v>Hawaiian Tropic</c:v>
                </c:pt>
                <c:pt idx="4">
                  <c:v>Others Marca Unif.</c:v>
                </c:pt>
                <c:pt idx="5">
                  <c:v>La Roche-Posay</c:v>
                </c:pt>
                <c:pt idx="6">
                  <c:v>Eucerin</c:v>
                </c:pt>
                <c:pt idx="7">
                  <c:v>Garnier</c:v>
                </c:pt>
              </c:strCache>
            </c:strRef>
          </c:cat>
          <c:val>
            <c:numRef>
              <c:f>Sheet1!$F$2:$F$9</c:f>
              <c:numCache>
                <c:formatCode>General</c:formatCode>
                <c:ptCount val="8"/>
                <c:pt idx="0">
                  <c:v>234.9959</c:v>
                </c:pt>
                <c:pt idx="1">
                  <c:v>557.1028</c:v>
                </c:pt>
                <c:pt idx="5">
                  <c:v>604.8152</c:v>
                </c:pt>
                <c:pt idx="6">
                  <c:v>587.770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Nivea</c:v>
                </c:pt>
                <c:pt idx="1">
                  <c:v>Loreal Paris</c:v>
                </c:pt>
                <c:pt idx="2">
                  <c:v>La Roche-Posay</c:v>
                </c:pt>
              </c:strCache>
            </c:strRef>
          </c:cat>
          <c:val>
            <c:numRef>
              <c:f>Sheet1!$B$2:$B$4</c:f>
              <c:numCache>
                <c:formatCode>General</c:formatCode>
                <c:ptCount val="3"/>
                <c:pt idx="0">
                  <c:v>174.97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Nivea</c:v>
                </c:pt>
                <c:pt idx="1">
                  <c:v>Loreal Paris</c:v>
                </c:pt>
                <c:pt idx="2">
                  <c:v>La Roche-Posay</c:v>
                </c:pt>
              </c:strCache>
            </c:strRef>
          </c:cat>
          <c:val>
            <c:numRef>
              <c:f>Sheet1!$C$2:$C$4</c:f>
              <c:numCache>
                <c:formatCode>General</c:formatCode>
                <c:ptCount val="3"/>
                <c:pt idx="0">
                  <c:v>256.9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Loreal Paris</c:v>
                </c:pt>
                <c:pt idx="2">
                  <c:v>La Roche-Posay</c:v>
                </c:pt>
              </c:strCache>
            </c:strRef>
          </c:cat>
          <c:val>
            <c:numRef>
              <c:f>Sheet1!$D$2:$D$4</c:f>
              <c:numCache>
                <c:formatCode>General</c:formatCode>
                <c:ptCount val="3"/>
                <c:pt idx="1">
                  <c:v>254.673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Nivea</c:v>
                </c:pt>
                <c:pt idx="1">
                  <c:v>Loreal Paris</c:v>
                </c:pt>
                <c:pt idx="2">
                  <c:v>La Roche-Posay</c:v>
                </c:pt>
              </c:strCache>
            </c:strRef>
          </c:cat>
          <c:val>
            <c:numRef>
              <c:f>Sheet1!$E$2:$E$4</c:f>
              <c:numCache>
                <c:formatCode>General</c:formatCode>
                <c:ptCount val="3"/>
                <c:pt idx="2">
                  <c:v>548.01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57.78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Photoderm</c:v>
                </c:pt>
              </c:strCache>
            </c:strRef>
          </c:cat>
          <c:val>
            <c:numRef>
              <c:f>Sheet1!$C$2:$C$3</c:f>
              <c:numCache>
                <c:formatCode>General</c:formatCode>
                <c:ptCount val="2"/>
                <c:pt idx="0">
                  <c:v>262.412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Photoderm</c:v>
                </c:pt>
              </c:strCache>
            </c:strRef>
          </c:cat>
          <c:val>
            <c:numRef>
              <c:f>Sheet1!$D$2:$D$3</c:f>
              <c:numCache>
                <c:formatCode>General</c:formatCode>
                <c:ptCount val="2"/>
                <c:pt idx="1">
                  <c:v>484.1768</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hotoderm</c:v>
                </c:pt>
              </c:strCache>
            </c:strRef>
          </c:cat>
          <c:val>
            <c:numRef>
              <c:f>Sheet1!$B$2:$B$2</c:f>
              <c:numCache>
                <c:formatCode>General</c:formatCode>
                <c:ptCount val="1"/>
                <c:pt idx="0">
                  <c:v>362.6623</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F4C5C4-59B6-4ADE-8B39-1BDD4F6E10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B8AE5E-50A6-4BEE-B322-8051D26EA8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CE650D-09FF-473F-BF8F-0EB947243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D4E2B5-5BE9-4699-8D11-A6C96A114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A5F107-D6FA-42A9-9851-83F94ABB1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2D9822-A142-47E5-B241-C5DBE06E5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8E9821-63E2-4E7B-91EA-41450C160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3C4A59-470A-49A6-88F8-CEA4FA3C4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26.7676</c:v>
                </c:pt>
                <c:pt idx="1">
                  <c:v>148.6302</c:v>
                </c:pt>
                <c:pt idx="2">
                  <c:v>108.1014</c:v>
                </c:pt>
                <c:pt idx="3">
                  <c:v>409.2717</c:v>
                </c:pt>
              </c:numCache>
            </c:numRef>
          </c:xVal>
          <c:yVal>
            <c:numRef>
              <c:f>Sheet1!$B$2:$B$5</c:f>
              <c:numCache>
                <c:formatCode>General</c:formatCode>
                <c:ptCount val="4"/>
                <c:pt idx="0">
                  <c:v>0.919</c:v>
                </c:pt>
                <c:pt idx="1">
                  <c:v>1.191</c:v>
                </c:pt>
                <c:pt idx="2">
                  <c:v>1.031</c:v>
                </c:pt>
                <c:pt idx="3">
                  <c:v>4.783</c:v>
                </c:pt>
              </c:numCache>
            </c:numRef>
          </c:yVal>
          <c:bubbleSize>
            <c:numRef>
              <c:f>Sheet1!$C$2:$C$5</c:f>
              <c:numCache>
                <c:formatCode>General</c:formatCode>
                <c:ptCount val="4"/>
                <c:pt idx="0">
                  <c:v>933136</c:v>
                </c:pt>
                <c:pt idx="1">
                  <c:v>673146</c:v>
                </c:pt>
                <c:pt idx="2">
                  <c:v>500077</c:v>
                </c:pt>
                <c:pt idx="3">
                  <c:v>3765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91.0"/>
          <c:min val="8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Others Marca Unif.</c:v>
                </c:pt>
                <c:pt idx="1">
                  <c:v>Vichy</c:v>
                </c:pt>
              </c:strCache>
            </c:strRef>
          </c:cat>
          <c:val>
            <c:numRef>
              <c:f>Sheet1!$B$2:$B$3</c:f>
              <c:numCache>
                <c:formatCode>General</c:formatCode>
                <c:ptCount val="2"/>
                <c:pt idx="0">
                  <c:v>566.35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Others Marca Unif.</c:v>
                </c:pt>
                <c:pt idx="1">
                  <c:v>Vichy</c:v>
                </c:pt>
              </c:strCache>
            </c:strRef>
          </c:cat>
          <c:val>
            <c:numRef>
              <c:f>Sheet1!$C$2:$C$3</c:f>
              <c:numCache>
                <c:formatCode>General</c:formatCode>
                <c:ptCount val="2"/>
                <c:pt idx="0">
                  <c:v>163.27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Others Marca Unif.</c:v>
                </c:pt>
                <c:pt idx="1">
                  <c:v>Vichy</c:v>
                </c:pt>
              </c:strCache>
            </c:strRef>
          </c:cat>
          <c:val>
            <c:numRef>
              <c:f>Sheet1!$D$2:$D$3</c:f>
              <c:numCache>
                <c:formatCode>General</c:formatCode>
                <c:ptCount val="2"/>
                <c:pt idx="1">
                  <c:v>670.11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B$2:$B$8</c:f>
              <c:numCache>
                <c:formatCode>General</c:formatCode>
                <c:ptCount val="7"/>
                <c:pt idx="1">
                  <c:v>182.657</c:v>
                </c:pt>
                <c:pt idx="2">
                  <c:v>223.2473</c:v>
                </c:pt>
                <c:pt idx="5">
                  <c:v>73.717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C$2:$C$8</c:f>
              <c:numCache>
                <c:formatCode>General</c:formatCode>
                <c:ptCount val="7"/>
                <c:pt idx="4">
                  <c:v>90.290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D$2:$D$8</c:f>
              <c:numCache>
                <c:formatCode>General</c:formatCode>
                <c:ptCount val="7"/>
                <c:pt idx="3">
                  <c:v>182.5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E$2:$E$8</c:f>
              <c:numCache>
                <c:formatCode>General</c:formatCode>
                <c:ptCount val="7"/>
                <c:pt idx="0">
                  <c:v>237.6001</c:v>
                </c:pt>
                <c:pt idx="2">
                  <c:v>282.8961</c:v>
                </c:pt>
                <c:pt idx="3">
                  <c:v>91.3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F$2:$F$8</c:f>
              <c:numCache>
                <c:formatCode>General</c:formatCode>
                <c:ptCount val="7"/>
                <c:pt idx="1">
                  <c:v>259.991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G$2:$G$8</c:f>
              <c:numCache>
                <c:formatCode>General</c:formatCode>
                <c:ptCount val="7"/>
                <c:pt idx="0">
                  <c:v>248.7004</c:v>
                </c:pt>
                <c:pt idx="2">
                  <c:v>308.70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nds.Lavin De Mexico: All Others</c:v>
                </c:pt>
                <c:pt idx="5">
                  <c:v>Nuvel</c:v>
                </c:pt>
                <c:pt idx="6">
                  <c:v>Isdin</c:v>
                </c:pt>
              </c:strCache>
            </c:strRef>
          </c:cat>
          <c:val>
            <c:numRef>
              <c:f>Sheet1!$H$2:$H$8</c:f>
              <c:numCache>
                <c:formatCode>General</c:formatCode>
                <c:ptCount val="7"/>
                <c:pt idx="0">
                  <c:v>227.9312</c:v>
                </c:pt>
                <c:pt idx="6">
                  <c:v>609.801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Others Marca Unif.</c:v>
                </c:pt>
              </c:strCache>
            </c:strRef>
          </c:cat>
          <c:val>
            <c:numRef>
              <c:f>Sheet1!$B$2:$B$3</c:f>
              <c:numCache>
                <c:formatCode>General</c:formatCode>
                <c:ptCount val="2"/>
                <c:pt idx="0">
                  <c:v>180.23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Others Marca Unif.</c:v>
                </c:pt>
              </c:strCache>
            </c:strRef>
          </c:cat>
          <c:val>
            <c:numRef>
              <c:f>Sheet1!$C$2:$C$3</c:f>
              <c:numCache>
                <c:formatCode>General</c:formatCode>
                <c:ptCount val="2"/>
                <c:pt idx="1">
                  <c:v>167.60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Nivea</c:v>
                </c:pt>
                <c:pt idx="1">
                  <c:v>Others Marca Unif.</c:v>
                </c:pt>
              </c:strCache>
            </c:strRef>
          </c:cat>
          <c:val>
            <c:numRef>
              <c:f>Sheet1!$D$2:$D$3</c:f>
              <c:numCache>
                <c:formatCode>General</c:formatCode>
                <c:ptCount val="2"/>
                <c:pt idx="0">
                  <c:v>250.8155</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Nivea</c:v>
                </c:pt>
                <c:pt idx="1">
                  <c:v>Neutrogena</c:v>
                </c:pt>
                <c:pt idx="2">
                  <c:v>Hawaiian Tropic</c:v>
                </c:pt>
                <c:pt idx="3">
                  <c:v>Isdin</c:v>
                </c:pt>
                <c:pt idx="4">
                  <c:v>Nuvel</c:v>
                </c:pt>
                <c:pt idx="5">
                  <c:v>Others Marca Unif.</c:v>
                </c:pt>
                <c:pt idx="6">
                  <c:v>Garnier</c:v>
                </c:pt>
                <c:pt idx="7">
                  <c:v>Eucerin</c:v>
                </c:pt>
              </c:strCache>
            </c:strRef>
          </c:cat>
          <c:val>
            <c:numRef>
              <c:f>Sheet1!$B$2:$B$9</c:f>
              <c:numCache>
                <c:formatCode>General</c:formatCode>
                <c:ptCount val="8"/>
                <c:pt idx="1">
                  <c:v>226.3991</c:v>
                </c:pt>
                <c:pt idx="2">
                  <c:v>180.4668</c:v>
                </c:pt>
                <c:pt idx="4">
                  <c:v>74.441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Neutrogena</c:v>
                </c:pt>
                <c:pt idx="2">
                  <c:v>Hawaiian Tropic</c:v>
                </c:pt>
                <c:pt idx="3">
                  <c:v>Isdin</c:v>
                </c:pt>
                <c:pt idx="4">
                  <c:v>Nuvel</c:v>
                </c:pt>
                <c:pt idx="5">
                  <c:v>Others Marca Unif.</c:v>
                </c:pt>
                <c:pt idx="6">
                  <c:v>Garnier</c:v>
                </c:pt>
                <c:pt idx="7">
                  <c:v>Eucerin</c:v>
                </c:pt>
              </c:strCache>
            </c:strRef>
          </c:cat>
          <c:val>
            <c:numRef>
              <c:f>Sheet1!$C$2:$C$9</c:f>
              <c:numCache>
                <c:formatCode>General</c:formatCode>
                <c:ptCount val="8"/>
                <c:pt idx="0">
                  <c:v>245.642</c:v>
                </c:pt>
                <c:pt idx="1">
                  <c:v>305.2633</c:v>
                </c:pt>
                <c:pt idx="5">
                  <c:v>102.958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Neutrogena</c:v>
                </c:pt>
                <c:pt idx="2">
                  <c:v>Hawaiian Tropic</c:v>
                </c:pt>
                <c:pt idx="3">
                  <c:v>Isdin</c:v>
                </c:pt>
                <c:pt idx="4">
                  <c:v>Nuvel</c:v>
                </c:pt>
                <c:pt idx="5">
                  <c:v>Others Marca Unif.</c:v>
                </c:pt>
                <c:pt idx="6">
                  <c:v>Garnier</c:v>
                </c:pt>
                <c:pt idx="7">
                  <c:v>Eucerin</c:v>
                </c:pt>
              </c:strCache>
            </c:strRef>
          </c:cat>
          <c:val>
            <c:numRef>
              <c:f>Sheet1!$D$2:$D$9</c:f>
              <c:numCache>
                <c:formatCode>General</c:formatCode>
                <c:ptCount val="8"/>
                <c:pt idx="2">
                  <c:v>256.97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Nivea</c:v>
                </c:pt>
                <c:pt idx="1">
                  <c:v>Neutrogena</c:v>
                </c:pt>
                <c:pt idx="2">
                  <c:v>Hawaiian Tropic</c:v>
                </c:pt>
                <c:pt idx="3">
                  <c:v>Isdin</c:v>
                </c:pt>
                <c:pt idx="4">
                  <c:v>Nuvel</c:v>
                </c:pt>
                <c:pt idx="5">
                  <c:v>Others Marca Unif.</c:v>
                </c:pt>
                <c:pt idx="6">
                  <c:v>Garnier</c:v>
                </c:pt>
                <c:pt idx="7">
                  <c:v>Eucerin</c:v>
                </c:pt>
              </c:strCache>
            </c:strRef>
          </c:cat>
          <c:val>
            <c:numRef>
              <c:f>Sheet1!$E$2:$E$9</c:f>
              <c:numCache>
                <c:formatCode>General</c:formatCode>
                <c:ptCount val="8"/>
                <c:pt idx="0">
                  <c:v>246.5608</c:v>
                </c:pt>
                <c:pt idx="1">
                  <c:v>304.5218</c:v>
                </c:pt>
                <c:pt idx="6">
                  <c:v>185.74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Nivea</c:v>
                </c:pt>
                <c:pt idx="1">
                  <c:v>Neutrogena</c:v>
                </c:pt>
                <c:pt idx="2">
                  <c:v>Hawaiian Tropic</c:v>
                </c:pt>
                <c:pt idx="3">
                  <c:v>Isdin</c:v>
                </c:pt>
                <c:pt idx="4">
                  <c:v>Nuvel</c:v>
                </c:pt>
                <c:pt idx="5">
                  <c:v>Others Marca Unif.</c:v>
                </c:pt>
                <c:pt idx="6">
                  <c:v>Garnier</c:v>
                </c:pt>
                <c:pt idx="7">
                  <c:v>Eucerin</c:v>
                </c:pt>
              </c:strCache>
            </c:strRef>
          </c:cat>
          <c:val>
            <c:numRef>
              <c:f>Sheet1!$F$2:$F$9</c:f>
              <c:numCache>
                <c:formatCode>General</c:formatCode>
                <c:ptCount val="8"/>
                <c:pt idx="0">
                  <c:v>229.5664</c:v>
                </c:pt>
                <c:pt idx="3">
                  <c:v>601.1332</c:v>
                </c:pt>
                <c:pt idx="7">
                  <c:v>606.188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176.15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57.2109</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Photoderm</c:v>
                </c:pt>
              </c:strCache>
            </c:strRef>
          </c:cat>
          <c:val>
            <c:numRef>
              <c:f>Sheet1!$B$2:$B$2</c:f>
              <c:numCache>
                <c:formatCode>General</c:formatCode>
                <c:ptCount val="1"/>
                <c:pt idx="0">
                  <c:v>636.547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618.90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7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Others Marca Unif.</c:v>
                </c:pt>
              </c:strCache>
            </c:strRef>
          </c:cat>
          <c:val>
            <c:numRef>
              <c:f>Sheet1!$C$2:$C$2</c:f>
              <c:numCache>
                <c:formatCode>General</c:formatCode>
                <c:ptCount val="1"/>
                <c:pt idx="0">
                  <c:v>158.0923</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B$2:$B$10</c:f>
              <c:numCache>
                <c:formatCode>General</c:formatCode>
                <c:ptCount val="9"/>
                <c:pt idx="1">
                  <c:v>226.5708</c:v>
                </c:pt>
                <c:pt idx="2">
                  <c:v>180.3743</c:v>
                </c:pt>
                <c:pt idx="5">
                  <c:v>74.820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C$2:$C$10</c:f>
              <c:numCache>
                <c:formatCode>General</c:formatCode>
                <c:ptCount val="9"/>
                <c:pt idx="0">
                  <c:v>245.7885</c:v>
                </c:pt>
                <c:pt idx="1">
                  <c:v>312.6696</c:v>
                </c:pt>
                <c:pt idx="4">
                  <c:v>108.128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D$2:$D$10</c:f>
              <c:numCache>
                <c:formatCode>General</c:formatCode>
                <c:ptCount val="9"/>
                <c:pt idx="2">
                  <c:v>267.355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E$2:$E$10</c:f>
              <c:numCache>
                <c:formatCode>General</c:formatCode>
                <c:ptCount val="9"/>
                <c:pt idx="0">
                  <c:v>246.8642</c:v>
                </c:pt>
                <c:pt idx="1">
                  <c:v>309.5965</c:v>
                </c:pt>
                <c:pt idx="6">
                  <c:v>188.98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Nivea</c:v>
                </c:pt>
                <c:pt idx="1">
                  <c:v>Neutrogena</c:v>
                </c:pt>
                <c:pt idx="2">
                  <c:v>Hawaiian Tropic</c:v>
                </c:pt>
                <c:pt idx="3">
                  <c:v>Isdin</c:v>
                </c:pt>
                <c:pt idx="4">
                  <c:v>Others Marca Unif.</c:v>
                </c:pt>
                <c:pt idx="5">
                  <c:v>Nuvel</c:v>
                </c:pt>
                <c:pt idx="6">
                  <c:v>Garnier</c:v>
                </c:pt>
                <c:pt idx="7">
                  <c:v>Eucerin</c:v>
                </c:pt>
                <c:pt idx="8">
                  <c:v>La Roche-Posay</c:v>
                </c:pt>
              </c:strCache>
            </c:strRef>
          </c:cat>
          <c:val>
            <c:numRef>
              <c:f>Sheet1!$F$2:$F$10</c:f>
              <c:numCache>
                <c:formatCode>General</c:formatCode>
                <c:ptCount val="9"/>
                <c:pt idx="0">
                  <c:v>234.6623</c:v>
                </c:pt>
                <c:pt idx="3">
                  <c:v>592.2873</c:v>
                </c:pt>
                <c:pt idx="7">
                  <c:v>593.2394</c:v>
                </c:pt>
                <c:pt idx="8">
                  <c:v>616.560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177.10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62.356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64.91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Nivea</c:v>
                </c:pt>
                <c:pt idx="1">
                  <c:v>Photoderm</c:v>
                </c:pt>
              </c:strCache>
            </c:strRef>
          </c:cat>
          <c:val>
            <c:numRef>
              <c:f>Sheet1!$C$2:$C$3</c:f>
              <c:numCache>
                <c:formatCode>General</c:formatCode>
                <c:ptCount val="2"/>
                <c:pt idx="1">
                  <c:v>610.685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FD09FE-5401-4BD0-83C6-67698162B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BDDDED-DCBA-43D8-87E2-AFC1AAD96B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6DA2550-6A7A-4CFA-9160-09DDE42F83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B22E22-E7BA-488C-99BB-3BEA66F1F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25F99A-915B-4F01-8C4A-6DF151BE3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1CB879-1A97-4731-B322-05868DAFE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271A47-D2E6-4DD3-AEF0-62E67B626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CAC4A7-D705-4F35-89E5-C4E097DD9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2595</c:v>
                </c:pt>
                <c:pt idx="1">
                  <c:v>197.4428</c:v>
                </c:pt>
                <c:pt idx="2">
                  <c:v>215.5523</c:v>
                </c:pt>
                <c:pt idx="3">
                  <c:v>289.4863</c:v>
                </c:pt>
                <c:pt idx="4">
                  <c:v>591.1292</c:v>
                </c:pt>
                <c:pt idx="5">
                  <c:v>84.3188</c:v>
                </c:pt>
                <c:pt idx="6">
                  <c:v>567.7175</c:v>
                </c:pt>
                <c:pt idx="7">
                  <c:v>579.0979</c:v>
                </c:pt>
              </c:numCache>
            </c:numRef>
          </c:xVal>
          <c:yVal>
            <c:numRef>
              <c:f>Sheet1!$B$2:$B$9</c:f>
              <c:numCache>
                <c:formatCode>General</c:formatCode>
                <c:ptCount val="8"/>
                <c:pt idx="0">
                  <c:v>1.037</c:v>
                </c:pt>
                <c:pt idx="1">
                  <c:v>0.745</c:v>
                </c:pt>
                <c:pt idx="2">
                  <c:v>0.69</c:v>
                </c:pt>
                <c:pt idx="3">
                  <c:v>2.046</c:v>
                </c:pt>
                <c:pt idx="4">
                  <c:v>4.246</c:v>
                </c:pt>
                <c:pt idx="5">
                  <c:v>0.405</c:v>
                </c:pt>
                <c:pt idx="6">
                  <c:v>4.907</c:v>
                </c:pt>
                <c:pt idx="7">
                  <c:v>6.886</c:v>
                </c:pt>
              </c:numCache>
            </c:numRef>
          </c:yVal>
          <c:bubbleSize>
            <c:numRef>
              <c:f>Sheet1!$C$2:$C$9</c:f>
              <c:numCache>
                <c:formatCode>General</c:formatCode>
                <c:ptCount val="8"/>
                <c:pt idx="0">
                  <c:v>113249134</c:v>
                </c:pt>
                <c:pt idx="1">
                  <c:v>58289864</c:v>
                </c:pt>
                <c:pt idx="2">
                  <c:v>41961776</c:v>
                </c:pt>
                <c:pt idx="3">
                  <c:v>28274994</c:v>
                </c:pt>
                <c:pt idx="4">
                  <c:v>25478849</c:v>
                </c:pt>
                <c:pt idx="5">
                  <c:v>13081218</c:v>
                </c:pt>
                <c:pt idx="6">
                  <c:v>9442278</c:v>
                </c:pt>
                <c:pt idx="7">
                  <c:v>710437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94C5A7-E2D7-4CA0-8AC1-A60B6A75A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C011E1-5061-4297-AADC-50E39C7C46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ECF292-AB00-442A-968C-EB6886309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AE6E97-B965-4CB9-A39B-DD0A99DB3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DC4DE0-C492-4937-9274-255C3D55E0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78476B-7686-4214-8C9D-3D8EE7EC3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0CBC2A-14C1-40D6-BBCB-66B7825CD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2A6F41-C313-4787-9FEB-8452E28A1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4801</c:v>
                </c:pt>
                <c:pt idx="2">
                  <c:v>230.2981</c:v>
                </c:pt>
                <c:pt idx="3">
                  <c:v>282.0527</c:v>
                </c:pt>
                <c:pt idx="4">
                  <c:v>87.4032</c:v>
                </c:pt>
                <c:pt idx="5">
                  <c:v>605.0969</c:v>
                </c:pt>
              </c:numCache>
            </c:numRef>
          </c:xVal>
          <c:yVal>
            <c:numRef>
              <c:f>Sheet1!$B$2:$B$7</c:f>
              <c:numCache>
                <c:formatCode>General</c:formatCode>
                <c:ptCount val="6"/>
                <c:pt idx="0">
                  <c:v>1.129</c:v>
                </c:pt>
                <c:pt idx="1">
                  <c:v>0.853</c:v>
                </c:pt>
                <c:pt idx="2">
                  <c:v>0.872</c:v>
                </c:pt>
                <c:pt idx="3">
                  <c:v>2.084</c:v>
                </c:pt>
                <c:pt idx="4">
                  <c:v>0.473</c:v>
                </c:pt>
                <c:pt idx="5">
                  <c:v>4.97</c:v>
                </c:pt>
              </c:numCache>
            </c:numRef>
          </c:yVal>
          <c:bubbleSize>
            <c:numRef>
              <c:f>Sheet1!$C$2:$C$7</c:f>
              <c:numCache>
                <c:formatCode>General</c:formatCode>
                <c:ptCount val="6"/>
                <c:pt idx="0">
                  <c:v>106919192</c:v>
                </c:pt>
                <c:pt idx="1">
                  <c:v>45886031</c:v>
                </c:pt>
                <c:pt idx="2">
                  <c:v>33832400</c:v>
                </c:pt>
                <c:pt idx="3">
                  <c:v>13126731</c:v>
                </c:pt>
                <c:pt idx="4">
                  <c:v>10154333</c:v>
                </c:pt>
                <c:pt idx="5">
                  <c:v>37860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Nivea</c:v>
                </c:pt>
                <c:pt idx="1">
                  <c:v>Photoderm</c:v>
                </c:pt>
              </c:strCache>
            </c:strRef>
          </c:cat>
          <c:val>
            <c:numRef>
              <c:f>Sheet1!$B$2:$B$3</c:f>
              <c:numCache>
                <c:formatCode>General</c:formatCode>
                <c:ptCount val="2"/>
                <c:pt idx="0">
                  <c:v>243.0667</c:v>
                </c:pt>
                <c:pt idx="1">
                  <c:v>376.23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77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Others Marca Unif.</c:v>
                </c:pt>
              </c:strCache>
            </c:strRef>
          </c:cat>
          <c:val>
            <c:numRef>
              <c:f>Sheet1!$B$2:$B$2</c:f>
              <c:numCache>
                <c:formatCode>General</c:formatCode>
                <c:ptCount val="1"/>
                <c:pt idx="0">
                  <c:v>154.5621</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B$2:$B$8</c:f>
              <c:numCache>
                <c:formatCode>General</c:formatCode>
                <c:ptCount val="7"/>
                <c:pt idx="1">
                  <c:v>179.3205</c:v>
                </c:pt>
                <c:pt idx="2">
                  <c:v>221.2674</c:v>
                </c:pt>
                <c:pt idx="5">
                  <c:v>73.085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C$2:$C$8</c:f>
              <c:numCache>
                <c:formatCode>General</c:formatCode>
                <c:ptCount val="7"/>
                <c:pt idx="3">
                  <c:v>122.818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D$2:$D$8</c:f>
              <c:numCache>
                <c:formatCode>General</c:formatCode>
                <c:ptCount val="7"/>
                <c:pt idx="0">
                  <c:v>249.6877</c:v>
                </c:pt>
                <c:pt idx="2">
                  <c:v>316.8095</c:v>
                </c:pt>
                <c:pt idx="3">
                  <c:v>103.187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ML</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E$2:$E$8</c:f>
              <c:numCache>
                <c:formatCode>General</c:formatCode>
                <c:ptCount val="7"/>
                <c:pt idx="1">
                  <c:v>266.26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ML</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F$2:$F$8</c:f>
              <c:numCache>
                <c:formatCode>General</c:formatCode>
                <c:ptCount val="7"/>
                <c:pt idx="0">
                  <c:v>248.5</c:v>
                </c:pt>
                <c:pt idx="2">
                  <c:v>309.919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G$2:$G$8</c:f>
              <c:numCache>
                <c:formatCode>General</c:formatCode>
                <c:ptCount val="7"/>
                <c:pt idx="0">
                  <c:v>234.9486</c:v>
                </c:pt>
                <c:pt idx="4">
                  <c:v>614.8187</c:v>
                </c:pt>
                <c:pt idx="6">
                  <c:v>552.2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Nivea</c:v>
                </c:pt>
                <c:pt idx="1">
                  <c:v>Hawaiian Tropic</c:v>
                </c:pt>
                <c:pt idx="2">
                  <c:v>Neutrogena</c:v>
                </c:pt>
                <c:pt idx="3">
                  <c:v>Others Marca Unif.</c:v>
                </c:pt>
                <c:pt idx="4">
                  <c:v>Isdin</c:v>
                </c:pt>
                <c:pt idx="5">
                  <c:v>Nuvel</c:v>
                </c:pt>
                <c:pt idx="6">
                  <c:v>La Roche-Posay</c:v>
                </c:pt>
              </c:strCache>
            </c:strRef>
          </c:cat>
          <c:val>
            <c:numRef>
              <c:f>Sheet1!$H$2:$H$8</c:f>
              <c:numCache>
                <c:formatCode>General</c:formatCode>
                <c:ptCount val="7"/>
                <c:pt idx="3">
                  <c:v>102.393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166.531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66.7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Nivea</c:v>
                </c:pt>
              </c:strCache>
            </c:strRef>
          </c:cat>
          <c:val>
            <c:numRef>
              <c:f>Sheet1!$B$2:$B$2</c:f>
              <c:numCache>
                <c:formatCode>General</c:formatCode>
                <c:ptCount val="1"/>
                <c:pt idx="0">
                  <c:v>270.784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ML</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Nivea</c:v>
                </c:pt>
              </c:strCache>
            </c:strRef>
          </c:cat>
          <c:val>
            <c:numRef>
              <c:f>Sheet1!$C$2:$C$2</c:f>
              <c:numCache>
                <c:formatCode>General</c:formatCode>
                <c:ptCount val="1"/>
                <c:pt idx="0">
                  <c:v>266.7542</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B7BBB2-3A65-4031-B18C-B4402FAB9C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F80DB7-ED24-414A-9421-42FEE126D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3211F3-BF0B-4CE4-AE01-308FE60C4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B1C90E-4F4B-4806-934A-CBBA663F5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B8BE86B-59BB-44A7-9F5D-9C0058AFD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515C13-8C4E-40AE-9080-D4175DAD3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E42CAE-CEA3-42F8-9D30-91B9536EF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6192E0A-A5A9-4AFA-9EF2-3DFA9F62D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5.5805</c:v>
                </c:pt>
                <c:pt idx="1">
                  <c:v>634.8955</c:v>
                </c:pt>
                <c:pt idx="2">
                  <c:v>638.5758</c:v>
                </c:pt>
                <c:pt idx="3">
                  <c:v>39.8793</c:v>
                </c:pt>
                <c:pt idx="4">
                  <c:v>585.0</c:v>
                </c:pt>
              </c:numCache>
            </c:numRef>
          </c:xVal>
          <c:yVal>
            <c:numRef>
              <c:f>Sheet1!$B$2:$B$6</c:f>
              <c:numCache>
                <c:formatCode>General</c:formatCode>
                <c:ptCount val="5"/>
                <c:pt idx="0">
                  <c:v>3.461</c:v>
                </c:pt>
                <c:pt idx="1">
                  <c:v>3.881</c:v>
                </c:pt>
                <c:pt idx="2">
                  <c:v>0.0</c:v>
                </c:pt>
                <c:pt idx="3">
                  <c:v>0.123</c:v>
                </c:pt>
                <c:pt idx="4">
                  <c:v>0.0</c:v>
                </c:pt>
              </c:numCache>
            </c:numRef>
          </c:yVal>
          <c:bubbleSize>
            <c:numRef>
              <c:f>Sheet1!$C$2:$C$6</c:f>
              <c:numCache>
                <c:formatCode>General</c:formatCode>
                <c:ptCount val="5"/>
                <c:pt idx="0">
                  <c:v>97549</c:v>
                </c:pt>
                <c:pt idx="1">
                  <c:v>85076</c:v>
                </c:pt>
                <c:pt idx="2">
                  <c:v>21073</c:v>
                </c:pt>
                <c:pt idx="3">
                  <c:v>11565</c:v>
                </c:pt>
                <c:pt idx="4">
                  <c:v>70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66.0"/>
          <c:min val="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7B24CE-C892-402A-AF35-1BAC16C51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C0058CB-9F06-40FD-B4BA-CE18099AD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A14EF6-D18D-4113-AB58-C54B700D6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110444-4B9C-46F4-80DC-204F8E1541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1A9DE0-7F2B-4C38-B0A5-30481A49F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B75727-A53A-4F8F-8144-8CFAF446E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63C76F-2E58-4435-A8A5-F3CA117271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7DBE1D-E50C-48BC-9B14-9547C3965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70.0005</c:v>
                </c:pt>
                <c:pt idx="1">
                  <c:v>242.6779</c:v>
                </c:pt>
                <c:pt idx="2">
                  <c:v>243.4812</c:v>
                </c:pt>
                <c:pt idx="3">
                  <c:v>230.4784</c:v>
                </c:pt>
              </c:numCache>
            </c:numRef>
          </c:xVal>
          <c:yVal>
            <c:numRef>
              <c:f>Sheet1!$B$2:$B$5</c:f>
              <c:numCache>
                <c:formatCode>General</c:formatCode>
                <c:ptCount val="4"/>
                <c:pt idx="0">
                  <c:v>0.966</c:v>
                </c:pt>
                <c:pt idx="1">
                  <c:v>1.034</c:v>
                </c:pt>
                <c:pt idx="2">
                  <c:v>0.979</c:v>
                </c:pt>
                <c:pt idx="3">
                  <c:v>0.829</c:v>
                </c:pt>
              </c:numCache>
            </c:numRef>
          </c:yVal>
          <c:bubbleSize>
            <c:numRef>
              <c:f>Sheet1!$C$2:$C$5</c:f>
              <c:numCache>
                <c:formatCode>General</c:formatCode>
                <c:ptCount val="4"/>
                <c:pt idx="0">
                  <c:v>3012936</c:v>
                </c:pt>
                <c:pt idx="1">
                  <c:v>2876219</c:v>
                </c:pt>
                <c:pt idx="2">
                  <c:v>953229</c:v>
                </c:pt>
                <c:pt idx="3">
                  <c:v>2933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18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4784E0-F0B8-4E36-ADCD-AC8E8027F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30068E-BD8C-4288-9F5A-1188D21FD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2E3C8E-B89C-489F-A776-D1B7B2FED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350E24-01AC-4FD3-B967-3B4D84B88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790A29-E444-4DF8-ABEC-CCBEE3094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0C7E00-1CA0-4777-827E-D98992EB7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3C3EA5-C4CB-4E73-958F-6B2BA1646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B28647-63EC-415B-BA86-1372D428E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0.4076</c:v>
                </c:pt>
                <c:pt idx="1">
                  <c:v>131.8665</c:v>
                </c:pt>
                <c:pt idx="2">
                  <c:v>116.8264</c:v>
                </c:pt>
                <c:pt idx="3">
                  <c:v>213.8289</c:v>
                </c:pt>
                <c:pt idx="4">
                  <c:v>53.3908</c:v>
                </c:pt>
              </c:numCache>
            </c:numRef>
          </c:xVal>
          <c:yVal>
            <c:numRef>
              <c:f>Sheet1!$B$2:$B$6</c:f>
              <c:numCache>
                <c:formatCode>General</c:formatCode>
                <c:ptCount val="5"/>
                <c:pt idx="0">
                  <c:v>0.994</c:v>
                </c:pt>
                <c:pt idx="1">
                  <c:v>0.672</c:v>
                </c:pt>
                <c:pt idx="2">
                  <c:v>0.928</c:v>
                </c:pt>
                <c:pt idx="3">
                  <c:v>1.472</c:v>
                </c:pt>
                <c:pt idx="4">
                  <c:v>0.357</c:v>
                </c:pt>
              </c:numCache>
            </c:numRef>
          </c:yVal>
          <c:bubbleSize>
            <c:numRef>
              <c:f>Sheet1!$C$2:$C$6</c:f>
              <c:numCache>
                <c:formatCode>General</c:formatCode>
                <c:ptCount val="5"/>
                <c:pt idx="0">
                  <c:v>2871732</c:v>
                </c:pt>
                <c:pt idx="1">
                  <c:v>1293742</c:v>
                </c:pt>
                <c:pt idx="2">
                  <c:v>1124337</c:v>
                </c:pt>
                <c:pt idx="3">
                  <c:v>319888</c:v>
                </c:pt>
                <c:pt idx="4">
                  <c:v>13198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7.0"/>
          <c:min val="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F93807-3935-4AF4-AA66-ED91FCBAB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1F7DCE-86D5-44D6-BD7C-80505A8929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572E13-9A5A-422F-96F8-E36E8238D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4BEA51-FD2B-4EC3-B657-09FAFB821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EE67C3-AA61-4A6C-8836-262319A8D7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B9F096-1076-4C0D-AA8B-0684A8A43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A1D69F-DBE2-4E85-8D0E-31534E348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C8A1E9C-0474-464E-A917-7655AB82D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6365</c:v>
                </c:pt>
                <c:pt idx="1">
                  <c:v>210.9269</c:v>
                </c:pt>
                <c:pt idx="2">
                  <c:v>229.2878</c:v>
                </c:pt>
                <c:pt idx="3">
                  <c:v>590.5508</c:v>
                </c:pt>
                <c:pt idx="4">
                  <c:v>290.1049</c:v>
                </c:pt>
                <c:pt idx="5">
                  <c:v>84.9806</c:v>
                </c:pt>
                <c:pt idx="6">
                  <c:v>592.2799</c:v>
                </c:pt>
                <c:pt idx="7">
                  <c:v>586.8087</c:v>
                </c:pt>
              </c:numCache>
            </c:numRef>
          </c:xVal>
          <c:yVal>
            <c:numRef>
              <c:f>Sheet1!$B$2:$B$9</c:f>
              <c:numCache>
                <c:formatCode>General</c:formatCode>
                <c:ptCount val="8"/>
                <c:pt idx="0">
                  <c:v>1.042</c:v>
                </c:pt>
                <c:pt idx="1">
                  <c:v>0.757</c:v>
                </c:pt>
                <c:pt idx="2">
                  <c:v>0.748</c:v>
                </c:pt>
                <c:pt idx="3">
                  <c:v>3.962</c:v>
                </c:pt>
                <c:pt idx="4">
                  <c:v>1.999</c:v>
                </c:pt>
                <c:pt idx="5">
                  <c:v>0.438</c:v>
                </c:pt>
                <c:pt idx="6">
                  <c:v>5.054</c:v>
                </c:pt>
                <c:pt idx="7">
                  <c:v>6.722</c:v>
                </c:pt>
              </c:numCache>
            </c:numRef>
          </c:yVal>
          <c:bubbleSize>
            <c:numRef>
              <c:f>Sheet1!$C$2:$C$9</c:f>
              <c:numCache>
                <c:formatCode>General</c:formatCode>
                <c:ptCount val="8"/>
                <c:pt idx="0">
                  <c:v>88331422</c:v>
                </c:pt>
                <c:pt idx="1">
                  <c:v>38701083</c:v>
                </c:pt>
                <c:pt idx="2">
                  <c:v>30962337</c:v>
                </c:pt>
                <c:pt idx="3">
                  <c:v>17830499</c:v>
                </c:pt>
                <c:pt idx="4">
                  <c:v>16158843</c:v>
                </c:pt>
                <c:pt idx="5">
                  <c:v>12462149</c:v>
                </c:pt>
                <c:pt idx="6">
                  <c:v>6878146</c:v>
                </c:pt>
                <c:pt idx="7">
                  <c:v>644902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49EF0A-ECAF-4A55-B3EE-DF7BFB5331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A8A4E7-E74F-4C3D-9E06-B3D0825BB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AAAD81-0C84-4406-8E56-B4436A03D9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678C53-F25E-4B22-A6BC-CE104679F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892F67-1882-4DF2-BFD3-1CDB706FC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10DA8B7-56F6-4C03-A0E6-7E1077573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C72B90-46C5-4191-82CE-371A712E6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963496-71F6-43AD-A623-006EA0670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462.5864</c:v>
                </c:pt>
                <c:pt idx="1">
                  <c:v>311.356</c:v>
                </c:pt>
                <c:pt idx="2">
                  <c:v>358.8844</c:v>
                </c:pt>
                <c:pt idx="3">
                  <c:v>451.2712</c:v>
                </c:pt>
                <c:pt idx="4">
                  <c:v>534.2344</c:v>
                </c:pt>
                <c:pt idx="5">
                  <c:v>180.7875</c:v>
                </c:pt>
                <c:pt idx="6">
                  <c:v>325.4526</c:v>
                </c:pt>
              </c:numCache>
            </c:numRef>
          </c:xVal>
          <c:yVal>
            <c:numRef>
              <c:f>Sheet1!$B$2:$B$8</c:f>
              <c:numCache>
                <c:formatCode>General</c:formatCode>
                <c:ptCount val="7"/>
                <c:pt idx="0">
                  <c:v>2.533</c:v>
                </c:pt>
                <c:pt idx="1">
                  <c:v>2.942</c:v>
                </c:pt>
                <c:pt idx="2">
                  <c:v>0.722</c:v>
                </c:pt>
                <c:pt idx="3">
                  <c:v>1.027</c:v>
                </c:pt>
                <c:pt idx="4">
                  <c:v>0.509</c:v>
                </c:pt>
                <c:pt idx="5">
                  <c:v>0.888</c:v>
                </c:pt>
                <c:pt idx="6">
                  <c:v>6.408</c:v>
                </c:pt>
              </c:numCache>
            </c:numRef>
          </c:yVal>
          <c:bubbleSize>
            <c:numRef>
              <c:f>Sheet1!$C$2:$C$8</c:f>
              <c:numCache>
                <c:formatCode>General</c:formatCode>
                <c:ptCount val="7"/>
                <c:pt idx="0">
                  <c:v>522260</c:v>
                </c:pt>
                <c:pt idx="1">
                  <c:v>485404</c:v>
                </c:pt>
                <c:pt idx="2">
                  <c:v>276341</c:v>
                </c:pt>
                <c:pt idx="3">
                  <c:v>266250</c:v>
                </c:pt>
                <c:pt idx="4">
                  <c:v>180037</c:v>
                </c:pt>
                <c:pt idx="5">
                  <c:v>141195</c:v>
                </c:pt>
                <c:pt idx="6">
                  <c:v>7550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41.0"/>
          <c:min val="14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544767-6333-4C82-BE2B-DF2AE4070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BD661B-4769-4A79-835F-C380BC987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8A85B9-3A55-4269-853F-9FA805B61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78B6D6-F9F9-4BE7-85DF-FD55D4FF83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9CEF20-1551-4417-8C30-AB3C953D9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73FA32-6B5B-410D-9FD1-5CC3185914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2924AE-C211-4B9C-B9F8-43CCBCD1E7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DCC26FF-9BBE-4C11-AE8E-090E1DA78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3.8118</c:v>
                </c:pt>
                <c:pt idx="1">
                  <c:v>242.9085</c:v>
                </c:pt>
                <c:pt idx="2">
                  <c:v>225.251</c:v>
                </c:pt>
                <c:pt idx="3">
                  <c:v>250.8574</c:v>
                </c:pt>
                <c:pt idx="4">
                  <c:v>134.1218</c:v>
                </c:pt>
              </c:numCache>
            </c:numRef>
          </c:xVal>
          <c:yVal>
            <c:numRef>
              <c:f>Sheet1!$B$2:$B$6</c:f>
              <c:numCache>
                <c:formatCode>General</c:formatCode>
                <c:ptCount val="5"/>
                <c:pt idx="0">
                  <c:v>0.996</c:v>
                </c:pt>
                <c:pt idx="1">
                  <c:v>1.1</c:v>
                </c:pt>
                <c:pt idx="2">
                  <c:v>0.852</c:v>
                </c:pt>
                <c:pt idx="3">
                  <c:v>1.134</c:v>
                </c:pt>
                <c:pt idx="4">
                  <c:v>0.848</c:v>
                </c:pt>
              </c:numCache>
            </c:numRef>
          </c:yVal>
          <c:bubbleSize>
            <c:numRef>
              <c:f>Sheet1!$C$2:$C$6</c:f>
              <c:numCache>
                <c:formatCode>General</c:formatCode>
                <c:ptCount val="5"/>
                <c:pt idx="0">
                  <c:v>2355576</c:v>
                </c:pt>
                <c:pt idx="1">
                  <c:v>1290330</c:v>
                </c:pt>
                <c:pt idx="2">
                  <c:v>439690</c:v>
                </c:pt>
                <c:pt idx="3">
                  <c:v>283218</c:v>
                </c:pt>
                <c:pt idx="4">
                  <c:v>9361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7.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68DB4D-4EEB-42EB-8672-A096D4F27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B48F09-E229-41A2-9583-635412287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651C45-AE33-4CB6-ADA9-58613BD50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AD6B60-636F-457F-A9A9-C60AA74F9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57B65B-097A-466D-A26B-152BCEC0C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3B13A1-96DA-451A-B2DB-81E27A4E2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50B712-3025-4A1A-85B3-75174467F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85DAAF-B39D-47A7-9A9C-363089255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68.6154</c:v>
                </c:pt>
                <c:pt idx="1">
                  <c:v>134.0757</c:v>
                </c:pt>
                <c:pt idx="2">
                  <c:v>114.5124</c:v>
                </c:pt>
                <c:pt idx="3">
                  <c:v>233.6888</c:v>
                </c:pt>
                <c:pt idx="4">
                  <c:v>46.7466</c:v>
                </c:pt>
              </c:numCache>
            </c:numRef>
          </c:xVal>
          <c:yVal>
            <c:numRef>
              <c:f>Sheet1!$B$2:$B$6</c:f>
              <c:numCache>
                <c:formatCode>General</c:formatCode>
                <c:ptCount val="5"/>
                <c:pt idx="0">
                  <c:v>1.257</c:v>
                </c:pt>
                <c:pt idx="1">
                  <c:v>0.771</c:v>
                </c:pt>
                <c:pt idx="2">
                  <c:v>1.021</c:v>
                </c:pt>
                <c:pt idx="3">
                  <c:v>2.227</c:v>
                </c:pt>
                <c:pt idx="4">
                  <c:v>0.354</c:v>
                </c:pt>
              </c:numCache>
            </c:numRef>
          </c:yVal>
          <c:bubbleSize>
            <c:numRef>
              <c:f>Sheet1!$C$2:$C$6</c:f>
              <c:numCache>
                <c:formatCode>General</c:formatCode>
                <c:ptCount val="5"/>
                <c:pt idx="0">
                  <c:v>1243201</c:v>
                </c:pt>
                <c:pt idx="1">
                  <c:v>1106527</c:v>
                </c:pt>
                <c:pt idx="2">
                  <c:v>647453</c:v>
                </c:pt>
                <c:pt idx="3">
                  <c:v>56319</c:v>
                </c:pt>
                <c:pt idx="4">
                  <c:v>448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80.0"/>
          <c:min val="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F6E44D-1B75-4EC8-8173-AB44E9E1B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441609-2FBC-4EE3-8C0F-9E1183A6D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0F14B8-7F1B-4F15-A4E1-E33D7B4D4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EE1B7E-AD99-40A1-AE1A-03EC31815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3C6751-F86B-4282-ADC4-7E278C92B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095B95-4659-4A65-8E52-CB03AE280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740214-5BA2-4039-995B-A0339D016B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548702-DFE3-4E7B-877F-C9975EEB4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6.5461</c:v>
                </c:pt>
                <c:pt idx="1">
                  <c:v>216.7578</c:v>
                </c:pt>
                <c:pt idx="2">
                  <c:v>243.0355</c:v>
                </c:pt>
                <c:pt idx="3">
                  <c:v>587.347</c:v>
                </c:pt>
                <c:pt idx="4">
                  <c:v>296.9305</c:v>
                </c:pt>
                <c:pt idx="5">
                  <c:v>85.8795</c:v>
                </c:pt>
                <c:pt idx="6">
                  <c:v>577.6143</c:v>
                </c:pt>
                <c:pt idx="7">
                  <c:v>583.7417</c:v>
                </c:pt>
              </c:numCache>
            </c:numRef>
          </c:xVal>
          <c:yVal>
            <c:numRef>
              <c:f>Sheet1!$B$2:$B$9</c:f>
              <c:numCache>
                <c:formatCode>General</c:formatCode>
                <c:ptCount val="8"/>
                <c:pt idx="0">
                  <c:v>1.06</c:v>
                </c:pt>
                <c:pt idx="1">
                  <c:v>0.78</c:v>
                </c:pt>
                <c:pt idx="2">
                  <c:v>0.791</c:v>
                </c:pt>
                <c:pt idx="3">
                  <c:v>3.894</c:v>
                </c:pt>
                <c:pt idx="4">
                  <c:v>2.143</c:v>
                </c:pt>
                <c:pt idx="5">
                  <c:v>0.411</c:v>
                </c:pt>
                <c:pt idx="6">
                  <c:v>6.268</c:v>
                </c:pt>
                <c:pt idx="7">
                  <c:v>4.88</c:v>
                </c:pt>
              </c:numCache>
            </c:numRef>
          </c:yVal>
          <c:bubbleSize>
            <c:numRef>
              <c:f>Sheet1!$C$2:$C$9</c:f>
              <c:numCache>
                <c:formatCode>General</c:formatCode>
                <c:ptCount val="8"/>
                <c:pt idx="0">
                  <c:v>71214845</c:v>
                </c:pt>
                <c:pt idx="1">
                  <c:v>43615577</c:v>
                </c:pt>
                <c:pt idx="2">
                  <c:v>39255583</c:v>
                </c:pt>
                <c:pt idx="3">
                  <c:v>16648350</c:v>
                </c:pt>
                <c:pt idx="4">
                  <c:v>15380108</c:v>
                </c:pt>
                <c:pt idx="5">
                  <c:v>11365898</c:v>
                </c:pt>
                <c:pt idx="6">
                  <c:v>6503359</c:v>
                </c:pt>
                <c:pt idx="7">
                  <c:v>545331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60A921-C432-402F-958C-EC98CCE5A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1B9805-B924-4CF5-BCC4-D11E87317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604526-05FC-40D8-B81B-159FE7F32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CB211F-29FA-422B-9EBD-F77D6DC5F0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79F2DC-578D-4737-AD6E-1A9008B70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68828A-5A66-4E56-B492-6FFB80EDD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9BC7F18-8A08-4EE7-9758-33F63476B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95C33E-4642-4018-877D-2B2EA433E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12.9966</c:v>
                </c:pt>
                <c:pt idx="1">
                  <c:v>456.2046</c:v>
                </c:pt>
                <c:pt idx="2">
                  <c:v>468.7049</c:v>
                </c:pt>
                <c:pt idx="3">
                  <c:v>369.4107</c:v>
                </c:pt>
                <c:pt idx="4">
                  <c:v>512.5045</c:v>
                </c:pt>
                <c:pt idx="5">
                  <c:v>151.001</c:v>
                </c:pt>
                <c:pt idx="6">
                  <c:v>337.0238</c:v>
                </c:pt>
              </c:numCache>
            </c:numRef>
          </c:xVal>
          <c:yVal>
            <c:numRef>
              <c:f>Sheet1!$B$2:$B$8</c:f>
              <c:numCache>
                <c:formatCode>General</c:formatCode>
                <c:ptCount val="7"/>
                <c:pt idx="0">
                  <c:v>2.093</c:v>
                </c:pt>
                <c:pt idx="1">
                  <c:v>1.755</c:v>
                </c:pt>
                <c:pt idx="2">
                  <c:v>1.186</c:v>
                </c:pt>
                <c:pt idx="3">
                  <c:v>0.612</c:v>
                </c:pt>
                <c:pt idx="4">
                  <c:v>0.467</c:v>
                </c:pt>
                <c:pt idx="5">
                  <c:v>0.711</c:v>
                </c:pt>
                <c:pt idx="6">
                  <c:v>7.046</c:v>
                </c:pt>
              </c:numCache>
            </c:numRef>
          </c:yVal>
          <c:bubbleSize>
            <c:numRef>
              <c:f>Sheet1!$C$2:$C$8</c:f>
              <c:numCache>
                <c:formatCode>General</c:formatCode>
                <c:ptCount val="7"/>
                <c:pt idx="0">
                  <c:v>731473</c:v>
                </c:pt>
                <c:pt idx="1">
                  <c:v>697993</c:v>
                </c:pt>
                <c:pt idx="2">
                  <c:v>343092</c:v>
                </c:pt>
                <c:pt idx="3">
                  <c:v>324712</c:v>
                </c:pt>
                <c:pt idx="4">
                  <c:v>171689</c:v>
                </c:pt>
                <c:pt idx="5">
                  <c:v>154323</c:v>
                </c:pt>
                <c:pt idx="6">
                  <c:v>8493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15.0"/>
          <c:min val="12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BD2FC0-86B1-4406-80FC-B40F30C9C0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27A3C5-F28E-496A-B7E0-777DD0C0C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696726-D961-41B7-9A19-3005A60939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EDBB33-32DD-4156-9946-88560EB3EC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05CC72-C7AA-4380-9E63-326A72F43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9C082D-019A-48E9-B307-B66366E93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A391B0-C715-4708-8F23-AD37FFF28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D01056-3375-42D5-B0DB-A64A878B3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2.697</c:v>
                </c:pt>
                <c:pt idx="1">
                  <c:v>552.8728</c:v>
                </c:pt>
                <c:pt idx="2">
                  <c:v>195.1517</c:v>
                </c:pt>
                <c:pt idx="3">
                  <c:v>200.3155</c:v>
                </c:pt>
                <c:pt idx="4">
                  <c:v>467.469</c:v>
                </c:pt>
                <c:pt idx="5">
                  <c:v>291.7559</c:v>
                </c:pt>
                <c:pt idx="6">
                  <c:v>553.7422</c:v>
                </c:pt>
                <c:pt idx="7">
                  <c:v>504.4897</c:v>
                </c:pt>
                <c:pt idx="8">
                  <c:v>83.0092</c:v>
                </c:pt>
              </c:numCache>
            </c:numRef>
          </c:xVal>
          <c:yVal>
            <c:numRef>
              <c:f>Sheet1!$B$2:$B$10</c:f>
              <c:numCache>
                <c:formatCode>General</c:formatCode>
                <c:ptCount val="9"/>
                <c:pt idx="0">
                  <c:v>0.884</c:v>
                </c:pt>
                <c:pt idx="1">
                  <c:v>3.394</c:v>
                </c:pt>
                <c:pt idx="2">
                  <c:v>0.583</c:v>
                </c:pt>
                <c:pt idx="3">
                  <c:v>0.57</c:v>
                </c:pt>
                <c:pt idx="4">
                  <c:v>4.613</c:v>
                </c:pt>
                <c:pt idx="5">
                  <c:v>1.687</c:v>
                </c:pt>
                <c:pt idx="6">
                  <c:v>3.766</c:v>
                </c:pt>
                <c:pt idx="7">
                  <c:v>3.347</c:v>
                </c:pt>
                <c:pt idx="8">
                  <c:v>0.33</c:v>
                </c:pt>
              </c:numCache>
            </c:numRef>
          </c:yVal>
          <c:bubbleSize>
            <c:numRef>
              <c:f>Sheet1!$C$2:$C$10</c:f>
              <c:numCache>
                <c:formatCode>General</c:formatCode>
                <c:ptCount val="9"/>
                <c:pt idx="0">
                  <c:v>77861555</c:v>
                </c:pt>
                <c:pt idx="1">
                  <c:v>38563986</c:v>
                </c:pt>
                <c:pt idx="2">
                  <c:v>34244636</c:v>
                </c:pt>
                <c:pt idx="3">
                  <c:v>32745172</c:v>
                </c:pt>
                <c:pt idx="4">
                  <c:v>25602342</c:v>
                </c:pt>
                <c:pt idx="5">
                  <c:v>19448156</c:v>
                </c:pt>
                <c:pt idx="6">
                  <c:v>14026291</c:v>
                </c:pt>
                <c:pt idx="7">
                  <c:v>13236800</c:v>
                </c:pt>
                <c:pt idx="8">
                  <c:v>95724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4.0"/>
          <c:min val="6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C36B85-BED5-4EEB-8229-99E8DA7AB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2B36E6-E56C-445D-90F0-50CE011789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C7DD26-3514-40AB-8930-2707BBA88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3D0837-6A3F-4227-8E65-C36BFF0400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CDA1C3-3B92-4BB6-A7AE-4D92DDF84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9140DD-AADA-4CC1-9467-93C85EF8A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EEDE56-7D1C-4131-A129-342D0CE75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B11E38-0ACA-4411-8DC2-7AF84B1A3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68.9831</c:v>
                </c:pt>
                <c:pt idx="1">
                  <c:v>249.026</c:v>
                </c:pt>
                <c:pt idx="2">
                  <c:v>224.2826</c:v>
                </c:pt>
                <c:pt idx="3">
                  <c:v>132.2308</c:v>
                </c:pt>
                <c:pt idx="4">
                  <c:v>320.8378</c:v>
                </c:pt>
              </c:numCache>
            </c:numRef>
          </c:xVal>
          <c:yVal>
            <c:numRef>
              <c:f>Sheet1!$B$2:$B$6</c:f>
              <c:numCache>
                <c:formatCode>General</c:formatCode>
                <c:ptCount val="5"/>
                <c:pt idx="0">
                  <c:v>1.043</c:v>
                </c:pt>
                <c:pt idx="1">
                  <c:v>1.15</c:v>
                </c:pt>
                <c:pt idx="2">
                  <c:v>0.869</c:v>
                </c:pt>
                <c:pt idx="3">
                  <c:v>0.835</c:v>
                </c:pt>
                <c:pt idx="4">
                  <c:v>1.291</c:v>
                </c:pt>
              </c:numCache>
            </c:numRef>
          </c:yVal>
          <c:bubbleSize>
            <c:numRef>
              <c:f>Sheet1!$C$2:$C$6</c:f>
              <c:numCache>
                <c:formatCode>General</c:formatCode>
                <c:ptCount val="5"/>
                <c:pt idx="0">
                  <c:v>2737172</c:v>
                </c:pt>
                <c:pt idx="1">
                  <c:v>1255340</c:v>
                </c:pt>
                <c:pt idx="2">
                  <c:v>671502</c:v>
                </c:pt>
                <c:pt idx="3">
                  <c:v>179305</c:v>
                </c:pt>
                <c:pt idx="4">
                  <c:v>593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85.0"/>
          <c:min val="1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850D36-A73B-44B6-ACB0-FAB318851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DF4178-3628-4678-BFFE-D1DB94BB7C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6CB940-FA67-42CF-990A-CFAB3CED9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5F1A96-03E3-4E5E-8D4D-3CFBB76FC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4CB247-5C83-4332-9953-76D736AF6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9769C9-0596-4709-8BBE-341556D15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F212129-6871-4B55-9539-B934EEDB73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21F1B5-C63F-4F17-9C4C-4460A39D3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8.8724</c:v>
                </c:pt>
                <c:pt idx="1">
                  <c:v>135.2869</c:v>
                </c:pt>
                <c:pt idx="2">
                  <c:v>116.2015</c:v>
                </c:pt>
              </c:numCache>
            </c:numRef>
          </c:xVal>
          <c:yVal>
            <c:numRef>
              <c:f>Sheet1!$B$2:$B$4</c:f>
              <c:numCache>
                <c:formatCode>General</c:formatCode>
                <c:ptCount val="3"/>
                <c:pt idx="0">
                  <c:v>1.264</c:v>
                </c:pt>
                <c:pt idx="1">
                  <c:v>0.804</c:v>
                </c:pt>
                <c:pt idx="2">
                  <c:v>1.042</c:v>
                </c:pt>
              </c:numCache>
            </c:numRef>
          </c:yVal>
          <c:bubbleSize>
            <c:numRef>
              <c:f>Sheet1!$C$2:$C$4</c:f>
              <c:numCache>
                <c:formatCode>General</c:formatCode>
                <c:ptCount val="3"/>
                <c:pt idx="0">
                  <c:v>1565109</c:v>
                </c:pt>
                <c:pt idx="1">
                  <c:v>1453252</c:v>
                </c:pt>
                <c:pt idx="2">
                  <c:v>6930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3.0"/>
          <c:min val="9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D4327A-C346-4C8A-88F6-E66F024D5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9F32AC-AFB0-44D6-9AC1-278D33D49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7807FD-D5A8-4CF8-8536-C8F6AAA79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089A58-E95F-46F7-A061-154CD87C0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059BA1-E728-4B4E-860F-DA642515A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CBCED0F-1CF3-46F3-8F05-3941E513FD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371CA16-DEE4-46FF-B3E8-FA0666CB0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F4B81D-54AA-4B27-AB19-27717A007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5107</c:v>
                </c:pt>
                <c:pt idx="1">
                  <c:v>219.0699</c:v>
                </c:pt>
                <c:pt idx="2">
                  <c:v>246.8326</c:v>
                </c:pt>
                <c:pt idx="3">
                  <c:v>295.5479</c:v>
                </c:pt>
                <c:pt idx="4">
                  <c:v>600.3644</c:v>
                </c:pt>
                <c:pt idx="5">
                  <c:v>80.9225</c:v>
                </c:pt>
                <c:pt idx="6">
                  <c:v>559.7216</c:v>
                </c:pt>
                <c:pt idx="7">
                  <c:v>601.637</c:v>
                </c:pt>
              </c:numCache>
            </c:numRef>
          </c:xVal>
          <c:yVal>
            <c:numRef>
              <c:f>Sheet1!$B$2:$B$9</c:f>
              <c:numCache>
                <c:formatCode>General</c:formatCode>
                <c:ptCount val="8"/>
                <c:pt idx="0">
                  <c:v>1.089</c:v>
                </c:pt>
                <c:pt idx="1">
                  <c:v>0.799</c:v>
                </c:pt>
                <c:pt idx="2">
                  <c:v>0.829</c:v>
                </c:pt>
                <c:pt idx="3">
                  <c:v>2.131</c:v>
                </c:pt>
                <c:pt idx="4">
                  <c:v>4.408</c:v>
                </c:pt>
                <c:pt idx="5">
                  <c:v>0.422</c:v>
                </c:pt>
                <c:pt idx="6">
                  <c:v>7.727</c:v>
                </c:pt>
                <c:pt idx="7">
                  <c:v>5.754</c:v>
                </c:pt>
              </c:numCache>
            </c:numRef>
          </c:yVal>
          <c:bubbleSize>
            <c:numRef>
              <c:f>Sheet1!$C$2:$C$9</c:f>
              <c:numCache>
                <c:formatCode>General</c:formatCode>
                <c:ptCount val="8"/>
                <c:pt idx="0">
                  <c:v>68815552</c:v>
                </c:pt>
                <c:pt idx="1">
                  <c:v>31676853</c:v>
                </c:pt>
                <c:pt idx="2">
                  <c:v>30151588</c:v>
                </c:pt>
                <c:pt idx="3">
                  <c:v>9309759</c:v>
                </c:pt>
                <c:pt idx="4">
                  <c:v>5824135</c:v>
                </c:pt>
                <c:pt idx="5">
                  <c:v>5507100</c:v>
                </c:pt>
                <c:pt idx="6">
                  <c:v>3172502</c:v>
                </c:pt>
                <c:pt idx="7">
                  <c:v>26339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2.0"/>
          <c:min val="6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C9AAD9-6EC1-4CD8-8C38-C612BF576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18ABEF-5F3B-41EE-B272-BB28F3C3B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F61388-588D-4F15-91C2-56DB02C0E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D1A0DB-3D28-4C85-A9BE-7BA4B4B7C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0271EE-7AB4-4E75-A826-85F4FC03A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2CFD29-5447-430F-BAAB-E25319D964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75A24C-E171-4D41-8624-DF1A17CBA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4BCCA65-D713-46A6-BBB0-776CFF15C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9.9946</c:v>
                </c:pt>
                <c:pt idx="1">
                  <c:v>472.6187</c:v>
                </c:pt>
                <c:pt idx="2">
                  <c:v>490.3613</c:v>
                </c:pt>
                <c:pt idx="3">
                  <c:v>335.1461</c:v>
                </c:pt>
                <c:pt idx="4">
                  <c:v>149.6178</c:v>
                </c:pt>
                <c:pt idx="5">
                  <c:v>411.8431</c:v>
                </c:pt>
                <c:pt idx="6">
                  <c:v>480.0313</c:v>
                </c:pt>
                <c:pt idx="7">
                  <c:v>430.3</c:v>
                </c:pt>
              </c:numCache>
            </c:numRef>
          </c:xVal>
          <c:yVal>
            <c:numRef>
              <c:f>Sheet1!$B$2:$B$9</c:f>
              <c:numCache>
                <c:formatCode>General</c:formatCode>
                <c:ptCount val="8"/>
                <c:pt idx="0">
                  <c:v>0.946</c:v>
                </c:pt>
                <c:pt idx="1">
                  <c:v>2.399</c:v>
                </c:pt>
                <c:pt idx="2">
                  <c:v>0.0</c:v>
                </c:pt>
                <c:pt idx="3">
                  <c:v>0.0</c:v>
                </c:pt>
                <c:pt idx="4">
                  <c:v>2.001</c:v>
                </c:pt>
                <c:pt idx="5">
                  <c:v>5.368</c:v>
                </c:pt>
                <c:pt idx="6">
                  <c:v>0.357</c:v>
                </c:pt>
                <c:pt idx="7">
                  <c:v>0.0</c:v>
                </c:pt>
              </c:numCache>
            </c:numRef>
          </c:yVal>
          <c:bubbleSize>
            <c:numRef>
              <c:f>Sheet1!$C$2:$C$9</c:f>
              <c:numCache>
                <c:formatCode>General</c:formatCode>
                <c:ptCount val="8"/>
                <c:pt idx="0">
                  <c:v>103599</c:v>
                </c:pt>
                <c:pt idx="1">
                  <c:v>65694</c:v>
                </c:pt>
                <c:pt idx="2">
                  <c:v>58353</c:v>
                </c:pt>
                <c:pt idx="3">
                  <c:v>29828</c:v>
                </c:pt>
                <c:pt idx="4">
                  <c:v>23490</c:v>
                </c:pt>
                <c:pt idx="5">
                  <c:v>21004</c:v>
                </c:pt>
                <c:pt idx="6">
                  <c:v>15361</c:v>
                </c:pt>
                <c:pt idx="7">
                  <c:v>1290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72.0"/>
          <c:min val="12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331583-CC25-4B72-B1D2-F3AA83DBE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7C8B1D-61F9-4D7E-AD94-09DEA853A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4EB4DF-563B-402A-95A8-138D44CCD5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77020F-DC43-4770-8FE0-EC4A3D967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328067-FC96-49E3-B3DB-E16F3037E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26CBE9-CFF9-4E58-B58F-347D45935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5E3FCF-E3A2-46FC-B174-C1F5B2AEE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1C75756-0B3E-4480-9611-2579F1ED4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66.1353</c:v>
                </c:pt>
                <c:pt idx="1">
                  <c:v>250.9359</c:v>
                </c:pt>
                <c:pt idx="2">
                  <c:v>214.3</c:v>
                </c:pt>
                <c:pt idx="3">
                  <c:v>270.0962</c:v>
                </c:pt>
              </c:numCache>
            </c:numRef>
          </c:xVal>
          <c:yVal>
            <c:numRef>
              <c:f>Sheet1!$B$2:$B$5</c:f>
              <c:numCache>
                <c:formatCode>General</c:formatCode>
                <c:ptCount val="4"/>
                <c:pt idx="0">
                  <c:v>0.989</c:v>
                </c:pt>
                <c:pt idx="1">
                  <c:v>1.105</c:v>
                </c:pt>
                <c:pt idx="2">
                  <c:v>0.792</c:v>
                </c:pt>
                <c:pt idx="3">
                  <c:v>1.362</c:v>
                </c:pt>
              </c:numCache>
            </c:numRef>
          </c:yVal>
          <c:bubbleSize>
            <c:numRef>
              <c:f>Sheet1!$C$2:$C$5</c:f>
              <c:numCache>
                <c:formatCode>General</c:formatCode>
                <c:ptCount val="4"/>
                <c:pt idx="0">
                  <c:v>1704863</c:v>
                </c:pt>
                <c:pt idx="1">
                  <c:v>1323185</c:v>
                </c:pt>
                <c:pt idx="2">
                  <c:v>413599</c:v>
                </c:pt>
                <c:pt idx="3">
                  <c:v>14315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4.0"/>
          <c:min val="17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C0A34C7-6249-4C1B-A032-42A1F836E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E90F00-BB2D-4424-93AC-3A6674E59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2B6FC9-8900-441B-80B4-B059A840A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C80CB26-60D2-4F90-BF56-86F00D323D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90FD9C-17D9-40BA-9BB7-4B80EF747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CFE2C3-4EAD-40DD-9AE9-616BE25FA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B85AE8-1D46-49DE-AA90-AB36CBFD30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B5A2D8-63F3-47E2-8B91-91CB87123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69.85</c:v>
                </c:pt>
                <c:pt idx="1">
                  <c:v>136.4699</c:v>
                </c:pt>
                <c:pt idx="2">
                  <c:v>112.9348</c:v>
                </c:pt>
                <c:pt idx="3">
                  <c:v>250.0581</c:v>
                </c:pt>
              </c:numCache>
            </c:numRef>
          </c:xVal>
          <c:yVal>
            <c:numRef>
              <c:f>Sheet1!$B$2:$B$5</c:f>
              <c:numCache>
                <c:formatCode>General</c:formatCode>
                <c:ptCount val="4"/>
                <c:pt idx="0">
                  <c:v>1.223</c:v>
                </c:pt>
                <c:pt idx="1">
                  <c:v>0.745</c:v>
                </c:pt>
                <c:pt idx="2">
                  <c:v>0.974</c:v>
                </c:pt>
                <c:pt idx="3">
                  <c:v>3.034</c:v>
                </c:pt>
              </c:numCache>
            </c:numRef>
          </c:yVal>
          <c:bubbleSize>
            <c:numRef>
              <c:f>Sheet1!$C$2:$C$5</c:f>
              <c:numCache>
                <c:formatCode>General</c:formatCode>
                <c:ptCount val="4"/>
                <c:pt idx="0">
                  <c:v>1178419</c:v>
                </c:pt>
                <c:pt idx="1">
                  <c:v>940414</c:v>
                </c:pt>
                <c:pt idx="2">
                  <c:v>567949</c:v>
                </c:pt>
                <c:pt idx="3">
                  <c:v>3875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0.0"/>
          <c:min val="9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67393F-6254-4AA8-981C-784B04773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DA2585-FB77-4A65-99E4-8C03E8A2B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1A90C5-D2D3-4995-9B5B-DAD7FDD59E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27891BA-758B-4C90-804E-E9014C7C6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E20BC7-CA27-4F3D-9761-58395EB2A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2C1278E-2136-43AF-B6A3-3B155A12B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9926E3-D5FD-46D3-8B80-ADC7FC7C2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5D926B-7DC8-4A33-8E54-172666AF0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2.0453</c:v>
                </c:pt>
                <c:pt idx="1">
                  <c:v>209.3439</c:v>
                </c:pt>
                <c:pt idx="2">
                  <c:v>225.2062</c:v>
                </c:pt>
                <c:pt idx="3">
                  <c:v>576.4046</c:v>
                </c:pt>
                <c:pt idx="4">
                  <c:v>291.3579</c:v>
                </c:pt>
                <c:pt idx="5">
                  <c:v>87.3801</c:v>
                </c:pt>
                <c:pt idx="6">
                  <c:v>560.5796</c:v>
                </c:pt>
                <c:pt idx="7">
                  <c:v>576.2914</c:v>
                </c:pt>
              </c:numCache>
            </c:numRef>
          </c:xVal>
          <c:yVal>
            <c:numRef>
              <c:f>Sheet1!$B$2:$B$9</c:f>
              <c:numCache>
                <c:formatCode>General</c:formatCode>
                <c:ptCount val="8"/>
                <c:pt idx="0">
                  <c:v>1.008</c:v>
                </c:pt>
                <c:pt idx="1">
                  <c:v>0.719</c:v>
                </c:pt>
                <c:pt idx="2">
                  <c:v>0.719</c:v>
                </c:pt>
                <c:pt idx="3">
                  <c:v>3.888</c:v>
                </c:pt>
                <c:pt idx="4">
                  <c:v>1.913</c:v>
                </c:pt>
                <c:pt idx="5">
                  <c:v>0.406</c:v>
                </c:pt>
                <c:pt idx="6">
                  <c:v>6.171</c:v>
                </c:pt>
                <c:pt idx="7">
                  <c:v>4.97</c:v>
                </c:pt>
              </c:numCache>
            </c:numRef>
          </c:yVal>
          <c:bubbleSize>
            <c:numRef>
              <c:f>Sheet1!$C$2:$C$9</c:f>
              <c:numCache>
                <c:formatCode>General</c:formatCode>
                <c:ptCount val="8"/>
                <c:pt idx="0">
                  <c:v>462155258</c:v>
                </c:pt>
                <c:pt idx="1">
                  <c:v>245682239</c:v>
                </c:pt>
                <c:pt idx="2">
                  <c:v>163452614</c:v>
                </c:pt>
                <c:pt idx="3">
                  <c:v>105220346</c:v>
                </c:pt>
                <c:pt idx="4">
                  <c:v>101346207</c:v>
                </c:pt>
                <c:pt idx="5">
                  <c:v>48849248</c:v>
                </c:pt>
                <c:pt idx="6">
                  <c:v>41745239</c:v>
                </c:pt>
                <c:pt idx="7">
                  <c:v>3794360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2.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D87CE7-DF15-49E5-845C-17BADB3DA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A5E0D3-2026-48D1-B944-660263C716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927A97-6DB2-46AA-BB4A-F624A80D97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EA042F-98BB-44D3-BF00-87E7DC5B6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8E31CC-79CE-4EF2-AE1B-7E091D68B2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812466-C51D-4D07-AC5A-5E0430E2F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259798-9004-4882-8362-EFA76CB8A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BDCDCEA-97B0-495B-A7D5-3E2E58188A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0708</c:v>
                </c:pt>
                <c:pt idx="1">
                  <c:v>268.9765</c:v>
                </c:pt>
                <c:pt idx="2">
                  <c:v>459.3015</c:v>
                </c:pt>
                <c:pt idx="3">
                  <c:v>476.9653</c:v>
                </c:pt>
                <c:pt idx="4">
                  <c:v>184.4208</c:v>
                </c:pt>
                <c:pt idx="5">
                  <c:v>336.3607</c:v>
                </c:pt>
              </c:numCache>
            </c:numRef>
          </c:xVal>
          <c:yVal>
            <c:numRef>
              <c:f>Sheet1!$B$2:$B$7</c:f>
              <c:numCache>
                <c:formatCode>General</c:formatCode>
                <c:ptCount val="6"/>
                <c:pt idx="0">
                  <c:v>3.089</c:v>
                </c:pt>
                <c:pt idx="1">
                  <c:v>0.673</c:v>
                </c:pt>
                <c:pt idx="2">
                  <c:v>2.243</c:v>
                </c:pt>
                <c:pt idx="3">
                  <c:v>6.548</c:v>
                </c:pt>
                <c:pt idx="4">
                  <c:v>0.37</c:v>
                </c:pt>
                <c:pt idx="5">
                  <c:v>5.226</c:v>
                </c:pt>
              </c:numCache>
            </c:numRef>
          </c:yVal>
          <c:bubbleSize>
            <c:numRef>
              <c:f>Sheet1!$C$2:$C$7</c:f>
              <c:numCache>
                <c:formatCode>General</c:formatCode>
                <c:ptCount val="6"/>
                <c:pt idx="0">
                  <c:v>2911564</c:v>
                </c:pt>
                <c:pt idx="1">
                  <c:v>1397064</c:v>
                </c:pt>
                <c:pt idx="2">
                  <c:v>953510</c:v>
                </c:pt>
                <c:pt idx="3">
                  <c:v>741204</c:v>
                </c:pt>
                <c:pt idx="4">
                  <c:v>316835</c:v>
                </c:pt>
                <c:pt idx="5">
                  <c:v>2293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4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4ADDEF-795F-470A-AFB7-F2D07B1A6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3BBD26-ABD8-43C3-833D-2889F3F06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244CE6-6BDB-4D4E-969F-6ACD79ED6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3D870E-7300-424D-B249-65764A420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20C6EB-1189-4424-B50A-9A7D06E0C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E02570-99C7-426A-9421-14070B2B4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2EC83D-088D-4599-83DB-39837BFF5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3DAF08-3DB0-4F7B-BD35-48416929C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3.3346</c:v>
                </c:pt>
                <c:pt idx="1">
                  <c:v>240.1936</c:v>
                </c:pt>
                <c:pt idx="2">
                  <c:v>76.3673</c:v>
                </c:pt>
                <c:pt idx="3">
                  <c:v>74.2019</c:v>
                </c:pt>
                <c:pt idx="4">
                  <c:v>688.1282</c:v>
                </c:pt>
                <c:pt idx="5">
                  <c:v>577.5587</c:v>
                </c:pt>
              </c:numCache>
            </c:numRef>
          </c:xVal>
          <c:yVal>
            <c:numRef>
              <c:f>Sheet1!$B$2:$B$7</c:f>
              <c:numCache>
                <c:formatCode>General</c:formatCode>
                <c:ptCount val="6"/>
                <c:pt idx="0">
                  <c:v>1.283</c:v>
                </c:pt>
                <c:pt idx="1">
                  <c:v>1.079</c:v>
                </c:pt>
                <c:pt idx="2">
                  <c:v>0.521</c:v>
                </c:pt>
                <c:pt idx="3">
                  <c:v>0.549</c:v>
                </c:pt>
                <c:pt idx="4">
                  <c:v>4.076</c:v>
                </c:pt>
                <c:pt idx="5">
                  <c:v>2.615</c:v>
                </c:pt>
              </c:numCache>
            </c:numRef>
          </c:yVal>
          <c:bubbleSize>
            <c:numRef>
              <c:f>Sheet1!$C$2:$C$7</c:f>
              <c:numCache>
                <c:formatCode>General</c:formatCode>
                <c:ptCount val="6"/>
                <c:pt idx="0">
                  <c:v>61277586</c:v>
                </c:pt>
                <c:pt idx="1">
                  <c:v>40429874</c:v>
                </c:pt>
                <c:pt idx="2">
                  <c:v>13143504</c:v>
                </c:pt>
                <c:pt idx="3">
                  <c:v>5378671</c:v>
                </c:pt>
                <c:pt idx="4">
                  <c:v>2039612</c:v>
                </c:pt>
                <c:pt idx="5">
                  <c:v>18193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6.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94D004B-7433-4D51-9B5B-7D0670830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ABCCDE-0BD2-49CC-9A26-6EEFCCF8E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56B296-B86A-457E-8773-6686F8729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57E0BB-D65B-4EA7-99D2-3BBC22411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5FDE57-2F31-4DE6-9ED5-B0A0A1B93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1A25BF-20CC-4CBD-91FF-36EC46DF1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875B3A-BB8F-4ABA-BDC9-129F03D54B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5410E9-87BE-4AA5-93AF-1C17CD9F8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503</c:v>
                </c:pt>
                <c:pt idx="1">
                  <c:v>196.3721</c:v>
                </c:pt>
                <c:pt idx="2">
                  <c:v>216.8486</c:v>
                </c:pt>
                <c:pt idx="3">
                  <c:v>291.0402</c:v>
                </c:pt>
                <c:pt idx="4">
                  <c:v>590.7656</c:v>
                </c:pt>
                <c:pt idx="5">
                  <c:v>87.4426</c:v>
                </c:pt>
                <c:pt idx="6">
                  <c:v>569.712</c:v>
                </c:pt>
                <c:pt idx="7">
                  <c:v>585.7796</c:v>
                </c:pt>
              </c:numCache>
            </c:numRef>
          </c:xVal>
          <c:yVal>
            <c:numRef>
              <c:f>Sheet1!$B$2:$B$9</c:f>
              <c:numCache>
                <c:formatCode>General</c:formatCode>
                <c:ptCount val="8"/>
                <c:pt idx="0">
                  <c:v>1.003</c:v>
                </c:pt>
                <c:pt idx="1">
                  <c:v>0.71</c:v>
                </c:pt>
                <c:pt idx="2">
                  <c:v>0.681</c:v>
                </c:pt>
                <c:pt idx="3">
                  <c:v>1.894</c:v>
                </c:pt>
                <c:pt idx="4">
                  <c:v>3.917</c:v>
                </c:pt>
                <c:pt idx="5">
                  <c:v>0.393</c:v>
                </c:pt>
                <c:pt idx="6">
                  <c:v>4.841</c:v>
                </c:pt>
                <c:pt idx="7">
                  <c:v>6.768</c:v>
                </c:pt>
              </c:numCache>
            </c:numRef>
          </c:yVal>
          <c:bubbleSize>
            <c:numRef>
              <c:f>Sheet1!$C$2:$C$9</c:f>
              <c:numCache>
                <c:formatCode>General</c:formatCode>
                <c:ptCount val="8"/>
                <c:pt idx="0">
                  <c:v>98282653</c:v>
                </c:pt>
                <c:pt idx="1">
                  <c:v>54081083</c:v>
                </c:pt>
                <c:pt idx="2">
                  <c:v>32135440</c:v>
                </c:pt>
                <c:pt idx="3">
                  <c:v>28036189</c:v>
                </c:pt>
                <c:pt idx="4">
                  <c:v>24994112</c:v>
                </c:pt>
                <c:pt idx="5">
                  <c:v>10334315</c:v>
                </c:pt>
                <c:pt idx="6">
                  <c:v>8938211</c:v>
                </c:pt>
                <c:pt idx="7">
                  <c:v>646290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5FCE79-B5FB-4962-A875-3E5DFED22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49AA54-7FB6-42D8-B8AC-E37F89806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5FA3D6-6435-4A43-B177-857D442FA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207F542-8D82-4610-B518-B0222B1D3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DDE03D4-B793-4788-AA76-B6838688C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3FA7BF-2768-4785-BC9F-6B1E8B80E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292F688-CCAE-4C23-AE79-209CF2AE4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2CB082-44BE-4759-929C-116541F3C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9.6053</c:v>
                </c:pt>
                <c:pt idx="1">
                  <c:v>218.0452</c:v>
                </c:pt>
                <c:pt idx="2">
                  <c:v>224.1871</c:v>
                </c:pt>
                <c:pt idx="3">
                  <c:v>280.3714</c:v>
                </c:pt>
                <c:pt idx="4">
                  <c:v>86.5805</c:v>
                </c:pt>
                <c:pt idx="5">
                  <c:v>605.0969</c:v>
                </c:pt>
              </c:numCache>
            </c:numRef>
          </c:xVal>
          <c:yVal>
            <c:numRef>
              <c:f>Sheet1!$B$2:$B$7</c:f>
              <c:numCache>
                <c:formatCode>General</c:formatCode>
                <c:ptCount val="6"/>
                <c:pt idx="0">
                  <c:v>1.147</c:v>
                </c:pt>
                <c:pt idx="1">
                  <c:v>0.845</c:v>
                </c:pt>
                <c:pt idx="2">
                  <c:v>0.849</c:v>
                </c:pt>
                <c:pt idx="3">
                  <c:v>2.176</c:v>
                </c:pt>
                <c:pt idx="4">
                  <c:v>0.479</c:v>
                </c:pt>
                <c:pt idx="5">
                  <c:v>5.171</c:v>
                </c:pt>
              </c:numCache>
            </c:numRef>
          </c:yVal>
          <c:bubbleSize>
            <c:numRef>
              <c:f>Sheet1!$C$2:$C$7</c:f>
              <c:numCache>
                <c:formatCode>General</c:formatCode>
                <c:ptCount val="6"/>
                <c:pt idx="0">
                  <c:v>110924561</c:v>
                </c:pt>
                <c:pt idx="1">
                  <c:v>51770699</c:v>
                </c:pt>
                <c:pt idx="2">
                  <c:v>35419541</c:v>
                </c:pt>
                <c:pt idx="3">
                  <c:v>13224280</c:v>
                </c:pt>
                <c:pt idx="4">
                  <c:v>10297880</c:v>
                </c:pt>
                <c:pt idx="5">
                  <c:v>37860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A07D6E-13A0-4DAC-A524-8BE42959B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094A3A-34FF-4630-B3F1-B712029AE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53D83B-C133-4503-A80B-58997D2F1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31A53E-DF39-46AF-83D8-EC7CE6938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38DEBA-5FDA-4F71-AD8E-29B75E719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3CA9BF-960B-48A2-B2AE-695CA044D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31D9A0C-0CDE-436C-8191-5BDE311F6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9F3D2C-F077-4646-9657-C154DAEFE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10.5</c:v>
                </c:pt>
                <c:pt idx="1">
                  <c:v>270.6892</c:v>
                </c:pt>
                <c:pt idx="2">
                  <c:v>504.2633</c:v>
                </c:pt>
                <c:pt idx="3">
                  <c:v>542.4038</c:v>
                </c:pt>
                <c:pt idx="4">
                  <c:v>169.7456</c:v>
                </c:pt>
                <c:pt idx="5">
                  <c:v>852.3421</c:v>
                </c:pt>
              </c:numCache>
            </c:numRef>
          </c:xVal>
          <c:yVal>
            <c:numRef>
              <c:f>Sheet1!$B$2:$B$7</c:f>
              <c:numCache>
                <c:formatCode>General</c:formatCode>
                <c:ptCount val="6"/>
                <c:pt idx="0">
                  <c:v>4.59</c:v>
                </c:pt>
                <c:pt idx="1">
                  <c:v>0.716</c:v>
                </c:pt>
                <c:pt idx="2">
                  <c:v>2.9</c:v>
                </c:pt>
                <c:pt idx="3">
                  <c:v>10.905</c:v>
                </c:pt>
                <c:pt idx="4">
                  <c:v>0.365</c:v>
                </c:pt>
                <c:pt idx="5">
                  <c:v>0.0</c:v>
                </c:pt>
              </c:numCache>
            </c:numRef>
          </c:yVal>
          <c:bubbleSize>
            <c:numRef>
              <c:f>Sheet1!$C$2:$C$7</c:f>
              <c:numCache>
                <c:formatCode>General</c:formatCode>
                <c:ptCount val="6"/>
                <c:pt idx="0">
                  <c:v>484737</c:v>
                </c:pt>
                <c:pt idx="1">
                  <c:v>296134</c:v>
                </c:pt>
                <c:pt idx="2">
                  <c:v>237508</c:v>
                </c:pt>
                <c:pt idx="3">
                  <c:v>141025</c:v>
                </c:pt>
                <c:pt idx="4">
                  <c:v>48038</c:v>
                </c:pt>
                <c:pt idx="5">
                  <c:v>3238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023.0"/>
          <c:min val="13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D157F9-B3C1-41BA-A2F1-9F7BD3F17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6549C9-43B2-4D12-8CED-637A1B34D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1D602D-C8CC-4DB4-91C8-55A714ED1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8C3E72-C51A-4ECD-932E-39A75C8B1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77F0A59-A30A-4A11-B971-5FBC16654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6687D7-5E24-4B6F-83DD-5A5C30399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DE7112-81D3-487C-91AE-8BE8BE826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017F06-3396-4081-B235-141579A71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8599</c:v>
                </c:pt>
                <c:pt idx="1">
                  <c:v>239.5594</c:v>
                </c:pt>
                <c:pt idx="2">
                  <c:v>74.9831</c:v>
                </c:pt>
                <c:pt idx="3">
                  <c:v>74.6609</c:v>
                </c:pt>
                <c:pt idx="4">
                  <c:v>741.2413</c:v>
                </c:pt>
                <c:pt idx="5">
                  <c:v>569.5091</c:v>
                </c:pt>
                <c:pt idx="6">
                  <c:v>560.7336</c:v>
                </c:pt>
              </c:numCache>
            </c:numRef>
          </c:xVal>
          <c:yVal>
            <c:numRef>
              <c:f>Sheet1!$B$2:$B$8</c:f>
              <c:numCache>
                <c:formatCode>General</c:formatCode>
                <c:ptCount val="7"/>
                <c:pt idx="0">
                  <c:v>1.295</c:v>
                </c:pt>
                <c:pt idx="1">
                  <c:v>1.099</c:v>
                </c:pt>
                <c:pt idx="2">
                  <c:v>0.516</c:v>
                </c:pt>
                <c:pt idx="3">
                  <c:v>0.56</c:v>
                </c:pt>
                <c:pt idx="4">
                  <c:v>4.442</c:v>
                </c:pt>
                <c:pt idx="5">
                  <c:v>2.529</c:v>
                </c:pt>
                <c:pt idx="6">
                  <c:v>2.658</c:v>
                </c:pt>
              </c:numCache>
            </c:numRef>
          </c:yVal>
          <c:bubbleSize>
            <c:numRef>
              <c:f>Sheet1!$C$2:$C$8</c:f>
              <c:numCache>
                <c:formatCode>General</c:formatCode>
                <c:ptCount val="7"/>
                <c:pt idx="0">
                  <c:v>12991918</c:v>
                </c:pt>
                <c:pt idx="1">
                  <c:v>7281167</c:v>
                </c:pt>
                <c:pt idx="2">
                  <c:v>2686718</c:v>
                </c:pt>
                <c:pt idx="3">
                  <c:v>1376673</c:v>
                </c:pt>
                <c:pt idx="4">
                  <c:v>405459</c:v>
                </c:pt>
                <c:pt idx="5">
                  <c:v>343414</c:v>
                </c:pt>
                <c:pt idx="6">
                  <c:v>29887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89.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6273E5-7856-48DA-9C70-208350752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CB826F-EFD3-4E78-8353-4DC69660E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9FE666-67E6-44EC-BCC7-01FA85D9F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BC7102-8C86-4381-BC84-A97ED1A03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D9D92A-7529-4214-821B-6A483433D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D7360C-66B7-4587-9843-74A9339A6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D91E3E-8784-48A5-A614-FB6080B7F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6DCBE6-28CC-4DE6-AC79-AC26179BC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249</c:v>
                </c:pt>
                <c:pt idx="1">
                  <c:v>551.7873</c:v>
                </c:pt>
                <c:pt idx="2">
                  <c:v>195.2265</c:v>
                </c:pt>
                <c:pt idx="3">
                  <c:v>196.3084</c:v>
                </c:pt>
                <c:pt idx="4">
                  <c:v>544.4672</c:v>
                </c:pt>
                <c:pt idx="5">
                  <c:v>293.068</c:v>
                </c:pt>
                <c:pt idx="6">
                  <c:v>574.8097</c:v>
                </c:pt>
                <c:pt idx="7">
                  <c:v>518.8839</c:v>
                </c:pt>
              </c:numCache>
            </c:numRef>
          </c:xVal>
          <c:yVal>
            <c:numRef>
              <c:f>Sheet1!$B$2:$B$9</c:f>
              <c:numCache>
                <c:formatCode>General</c:formatCode>
                <c:ptCount val="8"/>
                <c:pt idx="0">
                  <c:v>0.869</c:v>
                </c:pt>
                <c:pt idx="1">
                  <c:v>3.241</c:v>
                </c:pt>
                <c:pt idx="2">
                  <c:v>0.563</c:v>
                </c:pt>
                <c:pt idx="3">
                  <c:v>0.56</c:v>
                </c:pt>
                <c:pt idx="4">
                  <c:v>4.427</c:v>
                </c:pt>
                <c:pt idx="5">
                  <c:v>1.586</c:v>
                </c:pt>
                <c:pt idx="6">
                  <c:v>3.967</c:v>
                </c:pt>
                <c:pt idx="7">
                  <c:v>3.299</c:v>
                </c:pt>
              </c:numCache>
            </c:numRef>
          </c:yVal>
          <c:bubbleSize>
            <c:numRef>
              <c:f>Sheet1!$C$2:$C$9</c:f>
              <c:numCache>
                <c:formatCode>General</c:formatCode>
                <c:ptCount val="8"/>
                <c:pt idx="0">
                  <c:v>68580640</c:v>
                </c:pt>
                <c:pt idx="1">
                  <c:v>37358209</c:v>
                </c:pt>
                <c:pt idx="2">
                  <c:v>32245369</c:v>
                </c:pt>
                <c:pt idx="3">
                  <c:v>24731918</c:v>
                </c:pt>
                <c:pt idx="4">
                  <c:v>19616609</c:v>
                </c:pt>
                <c:pt idx="5">
                  <c:v>19334577</c:v>
                </c:pt>
                <c:pt idx="6">
                  <c:v>12419913</c:v>
                </c:pt>
                <c:pt idx="7">
                  <c:v>98940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0"/>
          <c:min val="1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E881A2-8CBF-4304-BEC7-2525C3C35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DDAE02-145A-43A4-8D95-2BF98CD8BE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782EF6-4440-4D2B-9216-46B6651A31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8311B8-9C3D-4A20-85B3-96F17F20D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644A627-1EC1-40FF-9725-7511D73B4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A7702B-959D-47C0-8A60-5A1AA8735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5D6376-62D1-4DBC-83D0-4E46187C8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903DC4-AEAC-48C2-87FE-BBFDDF325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88.7583</c:v>
                </c:pt>
                <c:pt idx="1">
                  <c:v>253.0152</c:v>
                </c:pt>
                <c:pt idx="2">
                  <c:v>430.094</c:v>
                </c:pt>
                <c:pt idx="3">
                  <c:v>382.2512</c:v>
                </c:pt>
                <c:pt idx="4">
                  <c:v>248.8271</c:v>
                </c:pt>
                <c:pt idx="5">
                  <c:v>200.5139</c:v>
                </c:pt>
              </c:numCache>
            </c:numRef>
          </c:xVal>
          <c:yVal>
            <c:numRef>
              <c:f>Sheet1!$B$2:$B$7</c:f>
              <c:numCache>
                <c:formatCode>General</c:formatCode>
                <c:ptCount val="6"/>
                <c:pt idx="0">
                  <c:v>1.933</c:v>
                </c:pt>
                <c:pt idx="1">
                  <c:v>0.584</c:v>
                </c:pt>
                <c:pt idx="2">
                  <c:v>4.19</c:v>
                </c:pt>
                <c:pt idx="3">
                  <c:v>1.159</c:v>
                </c:pt>
                <c:pt idx="4">
                  <c:v>2.893</c:v>
                </c:pt>
                <c:pt idx="5">
                  <c:v>0.379</c:v>
                </c:pt>
              </c:numCache>
            </c:numRef>
          </c:yVal>
          <c:bubbleSize>
            <c:numRef>
              <c:f>Sheet1!$C$2:$C$7</c:f>
              <c:numCache>
                <c:formatCode>General</c:formatCode>
                <c:ptCount val="6"/>
                <c:pt idx="0">
                  <c:v>1205777</c:v>
                </c:pt>
                <c:pt idx="1">
                  <c:v>365860</c:v>
                </c:pt>
                <c:pt idx="2">
                  <c:v>288163</c:v>
                </c:pt>
                <c:pt idx="3">
                  <c:v>241965</c:v>
                </c:pt>
                <c:pt idx="4">
                  <c:v>113714</c:v>
                </c:pt>
                <c:pt idx="5">
                  <c:v>5032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7.0"/>
          <c:min val="1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915F4C-9446-4A7D-98C6-C1B3E0D26D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F4AA4F-B996-449C-A06D-E672A11E5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9D72124-C3E4-4774-B618-FBD38455C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77DEBA-1B99-4C73-B91B-6A8D3A5CEE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41ABBC-D385-47EA-AC4F-483435CE5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BAD095-5FCD-4E78-86BC-9578692DB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E62DDC-807B-42ED-9782-EBFEE30574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C2944B-8088-436E-8141-B2C5FCAE22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56.9843</c:v>
                </c:pt>
                <c:pt idx="1">
                  <c:v>235.8278</c:v>
                </c:pt>
                <c:pt idx="2">
                  <c:v>73.1552</c:v>
                </c:pt>
                <c:pt idx="3">
                  <c:v>74.0953</c:v>
                </c:pt>
                <c:pt idx="4">
                  <c:v>632.3971</c:v>
                </c:pt>
                <c:pt idx="5">
                  <c:v>565.0825</c:v>
                </c:pt>
                <c:pt idx="6">
                  <c:v>558.3299</c:v>
                </c:pt>
                <c:pt idx="7">
                  <c:v>602.0295</c:v>
                </c:pt>
              </c:numCache>
            </c:numRef>
          </c:xVal>
          <c:yVal>
            <c:numRef>
              <c:f>Sheet1!$B$2:$B$9</c:f>
              <c:numCache>
                <c:formatCode>General</c:formatCode>
                <c:ptCount val="8"/>
                <c:pt idx="0">
                  <c:v>1.256</c:v>
                </c:pt>
                <c:pt idx="1">
                  <c:v>1.01</c:v>
                </c:pt>
                <c:pt idx="2">
                  <c:v>0.497</c:v>
                </c:pt>
                <c:pt idx="3">
                  <c:v>0.531</c:v>
                </c:pt>
                <c:pt idx="4">
                  <c:v>3.474</c:v>
                </c:pt>
                <c:pt idx="5">
                  <c:v>2.331</c:v>
                </c:pt>
                <c:pt idx="6">
                  <c:v>2.461</c:v>
                </c:pt>
                <c:pt idx="7">
                  <c:v>1.774</c:v>
                </c:pt>
              </c:numCache>
            </c:numRef>
          </c:yVal>
          <c:bubbleSize>
            <c:numRef>
              <c:f>Sheet1!$C$2:$C$9</c:f>
              <c:numCache>
                <c:formatCode>General</c:formatCode>
                <c:ptCount val="8"/>
                <c:pt idx="0">
                  <c:v>8296738</c:v>
                </c:pt>
                <c:pt idx="1">
                  <c:v>6267125</c:v>
                </c:pt>
                <c:pt idx="2">
                  <c:v>1956024</c:v>
                </c:pt>
                <c:pt idx="3">
                  <c:v>793783</c:v>
                </c:pt>
                <c:pt idx="4">
                  <c:v>694372</c:v>
                </c:pt>
                <c:pt idx="5">
                  <c:v>534003</c:v>
                </c:pt>
                <c:pt idx="6">
                  <c:v>431589</c:v>
                </c:pt>
                <c:pt idx="7">
                  <c:v>42924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9.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87C7F8-FC8E-4ECC-9733-25F9CA12D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473BBA3-8243-464E-9FF3-9048F9B0F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3658D3-F0E7-4BE9-9C88-2A6941C93F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AB9AC7-3E38-42D2-B036-144910D925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904CA4-A7F6-4C80-92BD-23A21B6F3C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3BE314-1678-4F1C-A60E-42D2F4AF3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67AD1A-F184-48E9-B0DB-5DF1780EB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F18BE65-5BE2-48B3-AF4C-1F586F970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3264</c:v>
                </c:pt>
                <c:pt idx="1">
                  <c:v>221.7583</c:v>
                </c:pt>
                <c:pt idx="2">
                  <c:v>233.3937</c:v>
                </c:pt>
                <c:pt idx="3">
                  <c:v>282.0527</c:v>
                </c:pt>
                <c:pt idx="4">
                  <c:v>89.0421</c:v>
                </c:pt>
                <c:pt idx="5">
                  <c:v>602.8249</c:v>
                </c:pt>
              </c:numCache>
            </c:numRef>
          </c:xVal>
          <c:yVal>
            <c:numRef>
              <c:f>Sheet1!$B$2:$B$7</c:f>
              <c:numCache>
                <c:formatCode>General</c:formatCode>
                <c:ptCount val="6"/>
                <c:pt idx="0">
                  <c:v>1.109</c:v>
                </c:pt>
                <c:pt idx="1">
                  <c:v>0.827</c:v>
                </c:pt>
                <c:pt idx="2">
                  <c:v>0.859</c:v>
                </c:pt>
                <c:pt idx="3">
                  <c:v>2.017</c:v>
                </c:pt>
                <c:pt idx="4">
                  <c:v>0.476</c:v>
                </c:pt>
                <c:pt idx="5">
                  <c:v>4.644</c:v>
                </c:pt>
              </c:numCache>
            </c:numRef>
          </c:yVal>
          <c:bubbleSize>
            <c:numRef>
              <c:f>Sheet1!$C$2:$C$7</c:f>
              <c:numCache>
                <c:formatCode>General</c:formatCode>
                <c:ptCount val="6"/>
                <c:pt idx="0">
                  <c:v>94584130</c:v>
                </c:pt>
                <c:pt idx="1">
                  <c:v>45779791</c:v>
                </c:pt>
                <c:pt idx="2">
                  <c:v>27044258</c:v>
                </c:pt>
                <c:pt idx="3">
                  <c:v>13126731</c:v>
                </c:pt>
                <c:pt idx="4">
                  <c:v>8014855</c:v>
                </c:pt>
                <c:pt idx="5">
                  <c:v>362237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3.0"/>
          <c:min val="7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3651ACD-7FD6-4487-9491-535BDF8DD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282EB5-F16C-4822-B077-A937F81F8E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70623C-140B-4C7F-A6F5-90BE46B8D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4F8742-E7F4-4849-80F4-D2B9EEFEC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7EF067-A8CC-4370-AC11-929655D39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E5A931-C0E6-460C-8697-0CA20239A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5B27FA-70AB-4901-A44B-8F3BFC968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7F7AA9-CCF7-49F9-8C0A-E13533EE6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660.1452</c:v>
                </c:pt>
                <c:pt idx="1">
                  <c:v>300.12</c:v>
                </c:pt>
                <c:pt idx="2">
                  <c:v>488.1643</c:v>
                </c:pt>
                <c:pt idx="3">
                  <c:v>210.3782</c:v>
                </c:pt>
                <c:pt idx="4">
                  <c:v>527.0556</c:v>
                </c:pt>
              </c:numCache>
            </c:numRef>
          </c:xVal>
          <c:yVal>
            <c:numRef>
              <c:f>Sheet1!$B$2:$B$6</c:f>
              <c:numCache>
                <c:formatCode>General</c:formatCode>
                <c:ptCount val="5"/>
                <c:pt idx="0">
                  <c:v>13.774</c:v>
                </c:pt>
                <c:pt idx="1">
                  <c:v>0.778</c:v>
                </c:pt>
                <c:pt idx="2">
                  <c:v>2.734</c:v>
                </c:pt>
                <c:pt idx="3">
                  <c:v>0.493</c:v>
                </c:pt>
                <c:pt idx="4">
                  <c:v>0.0</c:v>
                </c:pt>
              </c:numCache>
            </c:numRef>
          </c:yVal>
          <c:bubbleSize>
            <c:numRef>
              <c:f>Sheet1!$C$2:$C$6</c:f>
              <c:numCache>
                <c:formatCode>General</c:formatCode>
                <c:ptCount val="5"/>
                <c:pt idx="0">
                  <c:v>163716</c:v>
                </c:pt>
                <c:pt idx="1">
                  <c:v>127551</c:v>
                </c:pt>
                <c:pt idx="2">
                  <c:v>103979</c:v>
                </c:pt>
                <c:pt idx="3">
                  <c:v>32819</c:v>
                </c:pt>
                <c:pt idx="4">
                  <c:v>948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92.0"/>
          <c:min val="1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AE7A19-2CF7-47A4-A219-A54AA7C10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F5B497-B7E2-476A-BC45-D0B3AF816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7C8113-4A32-4B35-AB53-65053B57F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3CA36A-EE3B-44E0-9D81-735312D16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EBD806A-471A-4A87-9B74-C6716B267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3325CE7-0722-4CB0-8B0F-69EF94B5BF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65A405-B9FA-4EF9-919E-0C3B15F1D4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2850CC-6FE8-467C-95DC-B05B9FB27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1.1783</c:v>
                </c:pt>
                <c:pt idx="1">
                  <c:v>217.6095</c:v>
                </c:pt>
                <c:pt idx="2">
                  <c:v>81.7656</c:v>
                </c:pt>
                <c:pt idx="3">
                  <c:v>72.9434</c:v>
                </c:pt>
                <c:pt idx="4">
                  <c:v>310.0258</c:v>
                </c:pt>
              </c:numCache>
            </c:numRef>
          </c:xVal>
          <c:yVal>
            <c:numRef>
              <c:f>Sheet1!$B$2:$B$6</c:f>
              <c:numCache>
                <c:formatCode>General</c:formatCode>
                <c:ptCount val="5"/>
                <c:pt idx="0">
                  <c:v>1.311</c:v>
                </c:pt>
                <c:pt idx="1">
                  <c:v>1.046</c:v>
                </c:pt>
                <c:pt idx="2">
                  <c:v>0.533</c:v>
                </c:pt>
                <c:pt idx="3">
                  <c:v>0.573</c:v>
                </c:pt>
                <c:pt idx="4">
                  <c:v>1.702</c:v>
                </c:pt>
              </c:numCache>
            </c:numRef>
          </c:yVal>
          <c:bubbleSize>
            <c:numRef>
              <c:f>Sheet1!$C$2:$C$6</c:f>
              <c:numCache>
                <c:formatCode>General</c:formatCode>
                <c:ptCount val="5"/>
                <c:pt idx="0">
                  <c:v>12335062</c:v>
                </c:pt>
                <c:pt idx="1">
                  <c:v>6660591</c:v>
                </c:pt>
                <c:pt idx="2">
                  <c:v>2139478</c:v>
                </c:pt>
                <c:pt idx="3">
                  <c:v>763280</c:v>
                </c:pt>
                <c:pt idx="4">
                  <c:v>28863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72.0"/>
          <c:min val="5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7803EC-307B-4EC6-9D95-ED3596AF9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659368-2490-411F-B446-8F7ABEB288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C3785C-B924-4689-9B78-2CD9869FF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659A77-F99D-44B5-9A37-3838E85E8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B97AF1-555B-475A-AE9D-B38B7C7AF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E540E4-142B-4052-AE0F-3ABFB12E7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DB6C3E-30DC-4CA6-85D0-E6A399251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8D5828-3550-4395-9C3D-642FAF090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0179</c:v>
                </c:pt>
                <c:pt idx="1">
                  <c:v>211.3991</c:v>
                </c:pt>
                <c:pt idx="2">
                  <c:v>225.7719</c:v>
                </c:pt>
                <c:pt idx="3">
                  <c:v>589.7584</c:v>
                </c:pt>
                <c:pt idx="4">
                  <c:v>290.1049</c:v>
                </c:pt>
                <c:pt idx="5">
                  <c:v>87.5479</c:v>
                </c:pt>
                <c:pt idx="6">
                  <c:v>592.5708</c:v>
                </c:pt>
                <c:pt idx="7">
                  <c:v>583.1706</c:v>
                </c:pt>
              </c:numCache>
            </c:numRef>
          </c:xVal>
          <c:yVal>
            <c:numRef>
              <c:f>Sheet1!$B$2:$B$9</c:f>
              <c:numCache>
                <c:formatCode>General</c:formatCode>
                <c:ptCount val="8"/>
                <c:pt idx="0">
                  <c:v>1.019</c:v>
                </c:pt>
                <c:pt idx="1">
                  <c:v>0.728</c:v>
                </c:pt>
                <c:pt idx="2">
                  <c:v>0.71</c:v>
                </c:pt>
                <c:pt idx="3">
                  <c:v>3.763</c:v>
                </c:pt>
                <c:pt idx="4">
                  <c:v>1.915</c:v>
                </c:pt>
                <c:pt idx="5">
                  <c:v>0.434</c:v>
                </c:pt>
                <c:pt idx="6">
                  <c:v>5.137</c:v>
                </c:pt>
                <c:pt idx="7">
                  <c:v>6.988</c:v>
                </c:pt>
              </c:numCache>
            </c:numRef>
          </c:yVal>
          <c:bubbleSize>
            <c:numRef>
              <c:f>Sheet1!$C$2:$C$9</c:f>
              <c:numCache>
                <c:formatCode>General</c:formatCode>
                <c:ptCount val="8"/>
                <c:pt idx="0">
                  <c:v>77257194</c:v>
                </c:pt>
                <c:pt idx="1">
                  <c:v>38488805</c:v>
                </c:pt>
                <c:pt idx="2">
                  <c:v>24037481</c:v>
                </c:pt>
                <c:pt idx="3">
                  <c:v>17357178</c:v>
                </c:pt>
                <c:pt idx="4">
                  <c:v>16158843</c:v>
                </c:pt>
                <c:pt idx="5">
                  <c:v>9858772</c:v>
                </c:pt>
                <c:pt idx="6">
                  <c:v>6637385</c:v>
                </c:pt>
                <c:pt idx="7">
                  <c:v>590460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1.0"/>
          <c:min val="7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278247-C6DD-4D35-9333-05B2E37BA8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97DFC1-0C8B-406F-90BE-262358DF10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AE8135-41E3-4AAD-A455-02DAD499A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379604-D349-4063-A3A5-1B0BB12CD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6980FC-88ED-4A97-8E7F-74C6701A2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88BEA6-1F3A-4B78-B7DA-E8A1F4FC7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B8E714-6C0C-4748-A85D-99539D852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14F122-7DA1-4D68-9A60-725B28304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21.1562</c:v>
                </c:pt>
                <c:pt idx="1">
                  <c:v>278.1296</c:v>
                </c:pt>
                <c:pt idx="2">
                  <c:v>484.3873</c:v>
                </c:pt>
                <c:pt idx="3">
                  <c:v>494.6894</c:v>
                </c:pt>
                <c:pt idx="4">
                  <c:v>171.5474</c:v>
                </c:pt>
                <c:pt idx="5">
                  <c:v>472.3294</c:v>
                </c:pt>
              </c:numCache>
            </c:numRef>
          </c:xVal>
          <c:yVal>
            <c:numRef>
              <c:f>Sheet1!$B$2:$B$7</c:f>
              <c:numCache>
                <c:formatCode>General</c:formatCode>
                <c:ptCount val="6"/>
                <c:pt idx="0">
                  <c:v>3.914</c:v>
                </c:pt>
                <c:pt idx="1">
                  <c:v>0.692</c:v>
                </c:pt>
                <c:pt idx="2">
                  <c:v>2.883</c:v>
                </c:pt>
                <c:pt idx="3">
                  <c:v>8.904</c:v>
                </c:pt>
                <c:pt idx="4">
                  <c:v>0.313</c:v>
                </c:pt>
                <c:pt idx="5">
                  <c:v>17.264</c:v>
                </c:pt>
              </c:numCache>
            </c:numRef>
          </c:yVal>
          <c:bubbleSize>
            <c:numRef>
              <c:f>Sheet1!$C$2:$C$7</c:f>
              <c:numCache>
                <c:formatCode>General</c:formatCode>
                <c:ptCount val="6"/>
                <c:pt idx="0">
                  <c:v>473321</c:v>
                </c:pt>
                <c:pt idx="1">
                  <c:v>212491</c:v>
                </c:pt>
                <c:pt idx="2">
                  <c:v>167598</c:v>
                </c:pt>
                <c:pt idx="3">
                  <c:v>144944</c:v>
                </c:pt>
                <c:pt idx="4">
                  <c:v>81485</c:v>
                </c:pt>
                <c:pt idx="5">
                  <c:v>401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5.0"/>
          <c:min val="1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FE7432-515C-4DAE-9A9A-2040A0D29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6B34D3-3725-4BD6-9761-5FB0237CAE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672CC0-3334-4F1B-9421-C91AEE627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71C515-573C-4787-8053-0B6759949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E7E690-3AD1-49FA-8802-96FC3A77C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4BB125-E2F5-4D1E-BEC1-7DF83E52D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2B3775-E3C8-4561-807C-1AB0836E3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0934C1-4098-41CC-A08C-A0AA31B22D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9.7555</c:v>
                </c:pt>
                <c:pt idx="1">
                  <c:v>211.729</c:v>
                </c:pt>
                <c:pt idx="2">
                  <c:v>223.8245</c:v>
                </c:pt>
                <c:pt idx="3">
                  <c:v>590.5508</c:v>
                </c:pt>
                <c:pt idx="4">
                  <c:v>288.5933</c:v>
                </c:pt>
                <c:pt idx="5">
                  <c:v>84.6912</c:v>
                </c:pt>
                <c:pt idx="6">
                  <c:v>585.4623</c:v>
                </c:pt>
                <c:pt idx="7">
                  <c:v>552.6187</c:v>
                </c:pt>
              </c:numCache>
            </c:numRef>
          </c:xVal>
          <c:yVal>
            <c:numRef>
              <c:f>Sheet1!$B$2:$B$9</c:f>
              <c:numCache>
                <c:formatCode>General</c:formatCode>
                <c:ptCount val="8"/>
                <c:pt idx="0">
                  <c:v>1.049</c:v>
                </c:pt>
                <c:pt idx="1">
                  <c:v>0.757</c:v>
                </c:pt>
                <c:pt idx="2">
                  <c:v>0.722</c:v>
                </c:pt>
                <c:pt idx="3">
                  <c:v>4.062</c:v>
                </c:pt>
                <c:pt idx="4">
                  <c:v>2.057</c:v>
                </c:pt>
                <c:pt idx="5">
                  <c:v>0.444</c:v>
                </c:pt>
                <c:pt idx="6">
                  <c:v>5.121</c:v>
                </c:pt>
                <c:pt idx="7">
                  <c:v>7.093</c:v>
                </c:pt>
              </c:numCache>
            </c:numRef>
          </c:yVal>
          <c:bubbleSize>
            <c:numRef>
              <c:f>Sheet1!$C$2:$C$9</c:f>
              <c:numCache>
                <c:formatCode>General</c:formatCode>
                <c:ptCount val="8"/>
                <c:pt idx="0">
                  <c:v>90276351</c:v>
                </c:pt>
                <c:pt idx="1">
                  <c:v>42299860</c:v>
                </c:pt>
                <c:pt idx="2">
                  <c:v>32509165</c:v>
                </c:pt>
                <c:pt idx="3">
                  <c:v>17830499</c:v>
                </c:pt>
                <c:pt idx="4">
                  <c:v>16300038</c:v>
                </c:pt>
                <c:pt idx="5">
                  <c:v>12513725</c:v>
                </c:pt>
                <c:pt idx="6">
                  <c:v>7144396</c:v>
                </c:pt>
                <c:pt idx="7">
                  <c:v>694420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9.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EAF37B-692C-4B17-8F3A-C139C3EF4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8EDE96-2021-4F45-9F53-0B106D682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349329-98F0-482C-B461-42F34E8FB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94F0E1-B596-4DE4-AA8A-91953BD74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C5CD54-A313-4CC9-9699-7D6D9A79B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2CAB88-D042-47AD-8728-EDA18C861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7C97A11-065C-487B-8C0F-08FAD887E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2EEA66-4A8D-47A3-8D5C-731C89384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53.5657</c:v>
                </c:pt>
                <c:pt idx="1">
                  <c:v>241.4086</c:v>
                </c:pt>
                <c:pt idx="2">
                  <c:v>76.4867</c:v>
                </c:pt>
                <c:pt idx="3">
                  <c:v>74.5472</c:v>
                </c:pt>
                <c:pt idx="4">
                  <c:v>698.3951</c:v>
                </c:pt>
                <c:pt idx="5">
                  <c:v>594.6939</c:v>
                </c:pt>
              </c:numCache>
            </c:numRef>
          </c:xVal>
          <c:yVal>
            <c:numRef>
              <c:f>Sheet1!$B$2:$B$7</c:f>
              <c:numCache>
                <c:formatCode>General</c:formatCode>
                <c:ptCount val="6"/>
                <c:pt idx="0">
                  <c:v>1.288</c:v>
                </c:pt>
                <c:pt idx="1">
                  <c:v>1.079</c:v>
                </c:pt>
                <c:pt idx="2">
                  <c:v>0.549</c:v>
                </c:pt>
                <c:pt idx="3">
                  <c:v>0.555</c:v>
                </c:pt>
                <c:pt idx="4">
                  <c:v>4.054</c:v>
                </c:pt>
                <c:pt idx="5">
                  <c:v>2.764</c:v>
                </c:pt>
              </c:numCache>
            </c:numRef>
          </c:yVal>
          <c:bubbleSize>
            <c:numRef>
              <c:f>Sheet1!$C$2:$C$7</c:f>
              <c:numCache>
                <c:formatCode>General</c:formatCode>
                <c:ptCount val="6"/>
                <c:pt idx="0">
                  <c:v>11074228</c:v>
                </c:pt>
                <c:pt idx="1">
                  <c:v>6712365</c:v>
                </c:pt>
                <c:pt idx="2">
                  <c:v>2603377</c:v>
                </c:pt>
                <c:pt idx="3">
                  <c:v>1038144</c:v>
                </c:pt>
                <c:pt idx="4">
                  <c:v>399482</c:v>
                </c:pt>
                <c:pt idx="5">
                  <c:v>34968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8.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EAC1D2-00D7-4855-BDD0-785212458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D61EA8-3EAF-4752-B0D2-DDA18059D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A4B5EC-DE8A-4E22-A371-AD6EAC7B3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413136-AD43-4F1D-9874-81D10F96F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628B07-D3E7-444D-8AFA-B82FFFA5D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7FD725-D0D1-41AC-96C7-15CCE4753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C4AF34-E02A-4AB6-AF6C-CAC73F34B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8BE263-13B6-4478-9B1E-931BE7115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644</c:v>
                </c:pt>
                <c:pt idx="1">
                  <c:v>216.9883</c:v>
                </c:pt>
                <c:pt idx="2">
                  <c:v>239.3914</c:v>
                </c:pt>
                <c:pt idx="3">
                  <c:v>586.881</c:v>
                </c:pt>
                <c:pt idx="4">
                  <c:v>296.9305</c:v>
                </c:pt>
                <c:pt idx="5">
                  <c:v>88.2402</c:v>
                </c:pt>
                <c:pt idx="6">
                  <c:v>572.4655</c:v>
                </c:pt>
                <c:pt idx="7">
                  <c:v>583.8249</c:v>
                </c:pt>
              </c:numCache>
            </c:numRef>
          </c:xVal>
          <c:yVal>
            <c:numRef>
              <c:f>Sheet1!$B$2:$B$9</c:f>
              <c:numCache>
                <c:formatCode>General</c:formatCode>
                <c:ptCount val="8"/>
                <c:pt idx="0">
                  <c:v>1.037</c:v>
                </c:pt>
                <c:pt idx="1">
                  <c:v>0.75</c:v>
                </c:pt>
                <c:pt idx="2">
                  <c:v>0.754</c:v>
                </c:pt>
                <c:pt idx="3">
                  <c:v>3.708</c:v>
                </c:pt>
                <c:pt idx="4">
                  <c:v>2.056</c:v>
                </c:pt>
                <c:pt idx="5">
                  <c:v>0.407</c:v>
                </c:pt>
                <c:pt idx="6">
                  <c:v>6.471</c:v>
                </c:pt>
                <c:pt idx="7">
                  <c:v>5.066</c:v>
                </c:pt>
              </c:numCache>
            </c:numRef>
          </c:yVal>
          <c:bubbleSize>
            <c:numRef>
              <c:f>Sheet1!$C$2:$C$9</c:f>
              <c:numCache>
                <c:formatCode>General</c:formatCode>
                <c:ptCount val="8"/>
                <c:pt idx="0">
                  <c:v>62386660</c:v>
                </c:pt>
                <c:pt idx="1">
                  <c:v>43481848</c:v>
                </c:pt>
                <c:pt idx="2">
                  <c:v>31112739</c:v>
                </c:pt>
                <c:pt idx="3">
                  <c:v>16232541</c:v>
                </c:pt>
                <c:pt idx="4">
                  <c:v>15380108</c:v>
                </c:pt>
                <c:pt idx="5">
                  <c:v>8716542</c:v>
                </c:pt>
                <c:pt idx="6">
                  <c:v>5961083</c:v>
                </c:pt>
                <c:pt idx="7">
                  <c:v>521530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4.0"/>
          <c:min val="7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D7791EC-DDE4-45C1-9372-69DD5982AC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79EDD9-CE2F-46F6-8864-BE6B01B9B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244C47-3D34-4E69-9BD6-4CD725D3E9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1D9878-2245-4E44-B6D5-E503F07C3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8803646-E61B-4452-9F87-356D0F126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D437A5-C0B3-4E5C-83BA-FFBFD7FACC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88C660-94B4-4BCB-A6DF-3203B3AF9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37C0C1-C456-4E73-9469-B182B58A37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606.1356</c:v>
                </c:pt>
                <c:pt idx="1">
                  <c:v>269.3955</c:v>
                </c:pt>
                <c:pt idx="2">
                  <c:v>500.0714</c:v>
                </c:pt>
                <c:pt idx="3">
                  <c:v>490.0442</c:v>
                </c:pt>
                <c:pt idx="4">
                  <c:v>179.2867</c:v>
                </c:pt>
                <c:pt idx="5">
                  <c:v>368.3226</c:v>
                </c:pt>
              </c:numCache>
            </c:numRef>
          </c:xVal>
          <c:yVal>
            <c:numRef>
              <c:f>Sheet1!$B$2:$B$7</c:f>
              <c:numCache>
                <c:formatCode>General</c:formatCode>
                <c:ptCount val="6"/>
                <c:pt idx="0">
                  <c:v>3.967</c:v>
                </c:pt>
                <c:pt idx="1">
                  <c:v>0.689</c:v>
                </c:pt>
                <c:pt idx="2">
                  <c:v>3.95</c:v>
                </c:pt>
                <c:pt idx="3">
                  <c:v>6.693</c:v>
                </c:pt>
                <c:pt idx="4">
                  <c:v>0.363</c:v>
                </c:pt>
                <c:pt idx="5">
                  <c:v>7.516</c:v>
                </c:pt>
              </c:numCache>
            </c:numRef>
          </c:yVal>
          <c:bubbleSize>
            <c:numRef>
              <c:f>Sheet1!$C$2:$C$7</c:f>
              <c:numCache>
                <c:formatCode>General</c:formatCode>
                <c:ptCount val="6"/>
                <c:pt idx="0">
                  <c:v>415809</c:v>
                </c:pt>
                <c:pt idx="1">
                  <c:v>215247</c:v>
                </c:pt>
                <c:pt idx="2">
                  <c:v>126018</c:v>
                </c:pt>
                <c:pt idx="3">
                  <c:v>122021</c:v>
                </c:pt>
                <c:pt idx="4">
                  <c:v>76914</c:v>
                </c:pt>
                <c:pt idx="5">
                  <c:v>342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7.0"/>
          <c:min val="14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C5E168-4B23-46D0-966E-F0D8974FD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DD5FEB-03AC-480B-A464-63372E0E6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422636-5AEE-4A46-9690-9C6B6AD20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AED145-4152-4E24-A126-B8206343F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407383-9B2B-4258-AB5D-AECCA4D1CB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B374F7-F60C-42C9-A490-213C3F957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D4C8D8-93D7-42C8-8900-D3D5A00A4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C7412B-6364-4F54-8B2C-E797A4444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60.8802</c:v>
                </c:pt>
                <c:pt idx="1">
                  <c:v>257.7494</c:v>
                </c:pt>
                <c:pt idx="2">
                  <c:v>78.9321</c:v>
                </c:pt>
                <c:pt idx="3">
                  <c:v>74.7261</c:v>
                </c:pt>
                <c:pt idx="4">
                  <c:v>703.9447</c:v>
                </c:pt>
                <c:pt idx="5">
                  <c:v>604.1472</c:v>
                </c:pt>
                <c:pt idx="6">
                  <c:v>581.9242</c:v>
                </c:pt>
              </c:numCache>
            </c:numRef>
          </c:xVal>
          <c:yVal>
            <c:numRef>
              <c:f>Sheet1!$B$2:$B$8</c:f>
              <c:numCache>
                <c:formatCode>General</c:formatCode>
                <c:ptCount val="7"/>
                <c:pt idx="0">
                  <c:v>1.303</c:v>
                </c:pt>
                <c:pt idx="1">
                  <c:v>1.13</c:v>
                </c:pt>
                <c:pt idx="2">
                  <c:v>0.524</c:v>
                </c:pt>
                <c:pt idx="3">
                  <c:v>0.545</c:v>
                </c:pt>
                <c:pt idx="4">
                  <c:v>4.17</c:v>
                </c:pt>
                <c:pt idx="5">
                  <c:v>2.746</c:v>
                </c:pt>
                <c:pt idx="6">
                  <c:v>2.565</c:v>
                </c:pt>
              </c:numCache>
            </c:numRef>
          </c:yVal>
          <c:bubbleSize>
            <c:numRef>
              <c:f>Sheet1!$C$2:$C$8</c:f>
              <c:numCache>
                <c:formatCode>General</c:formatCode>
                <c:ptCount val="7"/>
                <c:pt idx="0">
                  <c:v>8828185</c:v>
                </c:pt>
                <c:pt idx="1">
                  <c:v>7927597</c:v>
                </c:pt>
                <c:pt idx="2">
                  <c:v>2649356</c:v>
                </c:pt>
                <c:pt idx="3">
                  <c:v>995501</c:v>
                </c:pt>
                <c:pt idx="4">
                  <c:v>420255</c:v>
                </c:pt>
                <c:pt idx="5">
                  <c:v>336510</c:v>
                </c:pt>
                <c:pt idx="6">
                  <c:v>23800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45.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D01A56-C4D1-454B-AE05-715BD9460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4C374B-8A7B-43A3-B3F4-AE437DA5C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49A5B5-EA90-4E8F-96CC-9A2053258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A6BA24-7D4B-4C31-BEDD-359794EF8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0E33BE-7477-494E-946A-DBE1F2BF4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102B74-5DAB-4151-BFAE-114417256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DC7E80-A050-4A0A-A04C-ED0D44411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C42863D-7314-41C4-95BC-6B9B83723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1.3491</c:v>
                </c:pt>
                <c:pt idx="1">
                  <c:v>219.3034</c:v>
                </c:pt>
                <c:pt idx="2">
                  <c:v>245.6148</c:v>
                </c:pt>
                <c:pt idx="3">
                  <c:v>295.5479</c:v>
                </c:pt>
                <c:pt idx="4">
                  <c:v>599.4627</c:v>
                </c:pt>
                <c:pt idx="5">
                  <c:v>84.1312</c:v>
                </c:pt>
                <c:pt idx="6">
                  <c:v>553.6225</c:v>
                </c:pt>
                <c:pt idx="7">
                  <c:v>601.4517</c:v>
                </c:pt>
              </c:numCache>
            </c:numRef>
          </c:xVal>
          <c:yVal>
            <c:numRef>
              <c:f>Sheet1!$B$2:$B$9</c:f>
              <c:numCache>
                <c:formatCode>General</c:formatCode>
                <c:ptCount val="8"/>
                <c:pt idx="0">
                  <c:v>1.077</c:v>
                </c:pt>
                <c:pt idx="1">
                  <c:v>0.777</c:v>
                </c:pt>
                <c:pt idx="2">
                  <c:v>0.803</c:v>
                </c:pt>
                <c:pt idx="3">
                  <c:v>2.069</c:v>
                </c:pt>
                <c:pt idx="4">
                  <c:v>4.165</c:v>
                </c:pt>
                <c:pt idx="5">
                  <c:v>0.424</c:v>
                </c:pt>
                <c:pt idx="6">
                  <c:v>7.551</c:v>
                </c:pt>
                <c:pt idx="7">
                  <c:v>5.791</c:v>
                </c:pt>
              </c:numCache>
            </c:numRef>
          </c:yVal>
          <c:bubbleSize>
            <c:numRef>
              <c:f>Sheet1!$C$2:$C$9</c:f>
              <c:numCache>
                <c:formatCode>General</c:formatCode>
                <c:ptCount val="8"/>
                <c:pt idx="0">
                  <c:v>61063981</c:v>
                </c:pt>
                <c:pt idx="1">
                  <c:v>31605343</c:v>
                </c:pt>
                <c:pt idx="2">
                  <c:v>24390778</c:v>
                </c:pt>
                <c:pt idx="3">
                  <c:v>9309759</c:v>
                </c:pt>
                <c:pt idx="4">
                  <c:v>5655931</c:v>
                </c:pt>
                <c:pt idx="5">
                  <c:v>4398549</c:v>
                </c:pt>
                <c:pt idx="6">
                  <c:v>3022225</c:v>
                </c:pt>
                <c:pt idx="7">
                  <c:v>257120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2.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5CEDE6-D678-4B9F-8C40-7808B1C706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65849E-6667-4333-8AC1-093AB1D59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042365-DC4E-4861-9016-FF7DD90477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FF7809-937D-4F71-ACB6-593946672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176CFC-EFE0-4C48-94B9-A169575007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A99F5F-9999-49B8-93AC-5F1B5232E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332A614-3EB2-44F7-ADCC-A4824B757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340CAD2-C8E9-4A1E-B1D2-D8EBF7DF8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9.9414</c:v>
                </c:pt>
                <c:pt idx="1">
                  <c:v>632.3459</c:v>
                </c:pt>
                <c:pt idx="2">
                  <c:v>474.795</c:v>
                </c:pt>
                <c:pt idx="3">
                  <c:v>555.6875</c:v>
                </c:pt>
                <c:pt idx="4">
                  <c:v>219.7581</c:v>
                </c:pt>
                <c:pt idx="5">
                  <c:v>988.1111</c:v>
                </c:pt>
              </c:numCache>
            </c:numRef>
          </c:xVal>
          <c:yVal>
            <c:numRef>
              <c:f>Sheet1!$B$2:$B$7</c:f>
              <c:numCache>
                <c:formatCode>General</c:formatCode>
                <c:ptCount val="6"/>
                <c:pt idx="0">
                  <c:v>0.754</c:v>
                </c:pt>
                <c:pt idx="1">
                  <c:v>39.856</c:v>
                </c:pt>
                <c:pt idx="2">
                  <c:v>6.038</c:v>
                </c:pt>
                <c:pt idx="3">
                  <c:v>0.0</c:v>
                </c:pt>
                <c:pt idx="4">
                  <c:v>0.561</c:v>
                </c:pt>
                <c:pt idx="5">
                  <c:v>0.0</c:v>
                </c:pt>
              </c:numCache>
            </c:numRef>
          </c:yVal>
          <c:bubbleSize>
            <c:numRef>
              <c:f>Sheet1!$C$2:$C$7</c:f>
              <c:numCache>
                <c:formatCode>General</c:formatCode>
                <c:ptCount val="6"/>
                <c:pt idx="0">
                  <c:v>179781</c:v>
                </c:pt>
                <c:pt idx="1">
                  <c:v>168204</c:v>
                </c:pt>
                <c:pt idx="2">
                  <c:v>76442</c:v>
                </c:pt>
                <c:pt idx="3">
                  <c:v>35564</c:v>
                </c:pt>
                <c:pt idx="4">
                  <c:v>27250</c:v>
                </c:pt>
                <c:pt idx="5">
                  <c:v>88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86.0"/>
          <c:min val="17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DCF337-E3EA-4826-BB25-C6A424C2A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B45767-62F9-4419-AFC6-42AD75870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1514F4-8F98-4ADB-88FA-79D2E3DEF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8D3771-BEBB-43B2-9529-D1C3A617DF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9393E9-5174-4E36-A037-7DA7B718D5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CAB17D-2F91-43CF-8912-3F74AE7FE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E59970-2ECD-47EB-A91D-4FF775CA6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EC972FF-292E-43C7-BC0E-EB4C646EF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52.0716</c:v>
                </c:pt>
                <c:pt idx="1">
                  <c:v>251.5904</c:v>
                </c:pt>
                <c:pt idx="2">
                  <c:v>70.286</c:v>
                </c:pt>
                <c:pt idx="3">
                  <c:v>73.1442</c:v>
                </c:pt>
              </c:numCache>
            </c:numRef>
          </c:xVal>
          <c:yVal>
            <c:numRef>
              <c:f>Sheet1!$B$2:$B$5</c:f>
              <c:numCache>
                <c:formatCode>General</c:formatCode>
                <c:ptCount val="4"/>
                <c:pt idx="0">
                  <c:v>1.23</c:v>
                </c:pt>
                <c:pt idx="1">
                  <c:v>1.083</c:v>
                </c:pt>
                <c:pt idx="2">
                  <c:v>0.484</c:v>
                </c:pt>
                <c:pt idx="3">
                  <c:v>0.507</c:v>
                </c:pt>
              </c:numCache>
            </c:numRef>
          </c:yVal>
          <c:bubbleSize>
            <c:numRef>
              <c:f>Sheet1!$C$2:$C$5</c:f>
              <c:numCache>
                <c:formatCode>General</c:formatCode>
                <c:ptCount val="4"/>
                <c:pt idx="0">
                  <c:v>7751455</c:v>
                </c:pt>
                <c:pt idx="1">
                  <c:v>5581029</c:v>
                </c:pt>
                <c:pt idx="2">
                  <c:v>1108551</c:v>
                </c:pt>
                <c:pt idx="3">
                  <c:v>4112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02.0"/>
          <c:min val="5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6248B3-6A09-41E5-BD09-098E3E2C5B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40FC6E-68F0-4516-94D5-7A1D6C427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A940E2-8C2E-46A4-8287-B08A29FC35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C3E967-9CCA-4FF2-A4F9-6CA241357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FADBD71-4640-4615-B6A9-C6E383410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E46C1FC-EFFC-4D38-B601-C2E39C46AC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071905-3E8A-47DC-9503-6F57A2612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7D51A6-FE7A-4349-A38B-008B8741D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3146</c:v>
                </c:pt>
                <c:pt idx="1">
                  <c:v>211.9672</c:v>
                </c:pt>
                <c:pt idx="2">
                  <c:v>216.7766</c:v>
                </c:pt>
                <c:pt idx="3">
                  <c:v>89.0047</c:v>
                </c:pt>
                <c:pt idx="4">
                  <c:v>74.3605</c:v>
                </c:pt>
                <c:pt idx="5">
                  <c:v>206.3025</c:v>
                </c:pt>
              </c:numCache>
            </c:numRef>
          </c:xVal>
          <c:yVal>
            <c:numRef>
              <c:f>Sheet1!$B$2:$B$7</c:f>
              <c:numCache>
                <c:formatCode>General</c:formatCode>
                <c:ptCount val="6"/>
                <c:pt idx="0">
                  <c:v>1.228</c:v>
                </c:pt>
                <c:pt idx="1">
                  <c:v>0.899</c:v>
                </c:pt>
                <c:pt idx="2">
                  <c:v>0.89</c:v>
                </c:pt>
                <c:pt idx="3">
                  <c:v>0.494</c:v>
                </c:pt>
                <c:pt idx="4">
                  <c:v>0.457</c:v>
                </c:pt>
                <c:pt idx="5">
                  <c:v>2.963</c:v>
                </c:pt>
              </c:numCache>
            </c:numRef>
          </c:yVal>
          <c:bubbleSize>
            <c:numRef>
              <c:f>Sheet1!$C$2:$C$7</c:f>
              <c:numCache>
                <c:formatCode>General</c:formatCode>
                <c:ptCount val="6"/>
                <c:pt idx="0">
                  <c:v>523432960</c:v>
                </c:pt>
                <c:pt idx="1">
                  <c:v>195439881</c:v>
                </c:pt>
                <c:pt idx="2">
                  <c:v>125391144</c:v>
                </c:pt>
                <c:pt idx="3">
                  <c:v>45802720</c:v>
                </c:pt>
                <c:pt idx="4">
                  <c:v>23746346</c:v>
                </c:pt>
                <c:pt idx="5">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35F86A-73B8-4ED7-8998-4AC8B5425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266520-61BE-47B5-9851-ECA678C4C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63B4B0-FCE8-471A-9A3A-A47D25B39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C79997-EAD6-43D9-BF6F-F43C3C665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FF0EFA-B91F-4D05-B8B7-3983E163E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C3083D8-61EF-436F-93E6-F99C097CE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D3E0F3-8F78-41E5-B239-74374F4C7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C4BFD9-536A-47A0-807E-0A94454E0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77.1653</c:v>
                </c:pt>
                <c:pt idx="1">
                  <c:v>290.3909</c:v>
                </c:pt>
                <c:pt idx="2">
                  <c:v>563.7208</c:v>
                </c:pt>
                <c:pt idx="3">
                  <c:v>575.9708</c:v>
                </c:pt>
                <c:pt idx="4">
                  <c:v>539.5108</c:v>
                </c:pt>
                <c:pt idx="5">
                  <c:v>321.159</c:v>
                </c:pt>
                <c:pt idx="6">
                  <c:v>535.1501</c:v>
                </c:pt>
              </c:numCache>
            </c:numRef>
          </c:xVal>
          <c:yVal>
            <c:numRef>
              <c:f>Sheet1!$B$2:$B$8</c:f>
              <c:numCache>
                <c:formatCode>General</c:formatCode>
                <c:ptCount val="7"/>
                <c:pt idx="0">
                  <c:v>1.419</c:v>
                </c:pt>
                <c:pt idx="1">
                  <c:v>0.688</c:v>
                </c:pt>
                <c:pt idx="2">
                  <c:v>2.135</c:v>
                </c:pt>
                <c:pt idx="3">
                  <c:v>1.708</c:v>
                </c:pt>
                <c:pt idx="4">
                  <c:v>1.445</c:v>
                </c:pt>
                <c:pt idx="5">
                  <c:v>0.835</c:v>
                </c:pt>
                <c:pt idx="6">
                  <c:v>1.907</c:v>
                </c:pt>
              </c:numCache>
            </c:numRef>
          </c:yVal>
          <c:bubbleSize>
            <c:numRef>
              <c:f>Sheet1!$C$2:$C$8</c:f>
              <c:numCache>
                <c:formatCode>General</c:formatCode>
                <c:ptCount val="7"/>
                <c:pt idx="0">
                  <c:v>108131910</c:v>
                </c:pt>
                <c:pt idx="1">
                  <c:v>99186490</c:v>
                </c:pt>
                <c:pt idx="2">
                  <c:v>44526055</c:v>
                </c:pt>
                <c:pt idx="3">
                  <c:v>39227065</c:v>
                </c:pt>
                <c:pt idx="4">
                  <c:v>23762215</c:v>
                </c:pt>
                <c:pt idx="5">
                  <c:v>13025888</c:v>
                </c:pt>
                <c:pt idx="6">
                  <c:v>1174226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2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893152-E5E8-4EF3-B720-4CD8FE8AC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A17359-834C-4B80-9612-BA2640737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DA79C21-9B9E-4FD7-868D-0451FF47C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B77CB6-561A-4C3E-9A2B-6636EFFED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74E5D1-18B5-449C-BE4B-EA6D8A45A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795BD8-5F75-47FC-9675-40C026AB7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B089ED9-F4E0-4DEE-8FEA-21EF282D5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381F63-F9CA-4429-B945-088B74D0C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8.9728</c:v>
                </c:pt>
                <c:pt idx="1">
                  <c:v>198.7268</c:v>
                </c:pt>
                <c:pt idx="2">
                  <c:v>74.7662</c:v>
                </c:pt>
              </c:numCache>
            </c:numRef>
          </c:xVal>
          <c:yVal>
            <c:numRef>
              <c:f>Sheet1!$B$2:$B$4</c:f>
              <c:numCache>
                <c:formatCode>General</c:formatCode>
                <c:ptCount val="3"/>
                <c:pt idx="0">
                  <c:v>1.132</c:v>
                </c:pt>
                <c:pt idx="1">
                  <c:v>1.077</c:v>
                </c:pt>
                <c:pt idx="2">
                  <c:v>0.591</c:v>
                </c:pt>
              </c:numCache>
            </c:numRef>
          </c:yVal>
          <c:bubbleSize>
            <c:numRef>
              <c:f>Sheet1!$C$2:$C$4</c:f>
              <c:numCache>
                <c:formatCode>General</c:formatCode>
                <c:ptCount val="3"/>
                <c:pt idx="0">
                  <c:v>79888408</c:v>
                </c:pt>
                <c:pt idx="1">
                  <c:v>51049534</c:v>
                </c:pt>
                <c:pt idx="2">
                  <c:v>1619003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9.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F19277-7143-497E-B551-363C767CB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DAE0E6-6F48-4131-B582-E0613BD89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48C341-231D-4D3F-9FA6-527483E156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1B49D0-2864-4B9D-B657-4370BA5DD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5331C9-8893-460A-A5CE-B85E72C93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DFD71B-FC1C-4E54-B4F5-56568E124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011064-67A4-4909-94B9-1053E470CC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EB0C32-D59D-4CA5-8AB8-9C1020584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4.0041</c:v>
                </c:pt>
                <c:pt idx="1">
                  <c:v>217.155</c:v>
                </c:pt>
                <c:pt idx="2">
                  <c:v>236.11</c:v>
                </c:pt>
                <c:pt idx="3">
                  <c:v>587.347</c:v>
                </c:pt>
                <c:pt idx="4">
                  <c:v>294.1069</c:v>
                </c:pt>
                <c:pt idx="5">
                  <c:v>85.7542</c:v>
                </c:pt>
                <c:pt idx="6">
                  <c:v>531.8736</c:v>
                </c:pt>
                <c:pt idx="7">
                  <c:v>575.3829</c:v>
                </c:pt>
              </c:numCache>
            </c:numRef>
          </c:xVal>
          <c:yVal>
            <c:numRef>
              <c:f>Sheet1!$B$2:$B$9</c:f>
              <c:numCache>
                <c:formatCode>General</c:formatCode>
                <c:ptCount val="8"/>
                <c:pt idx="0">
                  <c:v>1.067</c:v>
                </c:pt>
                <c:pt idx="1">
                  <c:v>0.781</c:v>
                </c:pt>
                <c:pt idx="2">
                  <c:v>0.763</c:v>
                </c:pt>
                <c:pt idx="3">
                  <c:v>4.016</c:v>
                </c:pt>
                <c:pt idx="4">
                  <c:v>2.214</c:v>
                </c:pt>
                <c:pt idx="5">
                  <c:v>0.422</c:v>
                </c:pt>
                <c:pt idx="6">
                  <c:v>6.583</c:v>
                </c:pt>
                <c:pt idx="7">
                  <c:v>5.005</c:v>
                </c:pt>
              </c:numCache>
            </c:numRef>
          </c:yVal>
          <c:bubbleSize>
            <c:numRef>
              <c:f>Sheet1!$C$2:$C$9</c:f>
              <c:numCache>
                <c:formatCode>General</c:formatCode>
                <c:ptCount val="8"/>
                <c:pt idx="0">
                  <c:v>73169020</c:v>
                </c:pt>
                <c:pt idx="1">
                  <c:v>47917858</c:v>
                </c:pt>
                <c:pt idx="2">
                  <c:v>41380400</c:v>
                </c:pt>
                <c:pt idx="3">
                  <c:v>16648350</c:v>
                </c:pt>
                <c:pt idx="4">
                  <c:v>15534431</c:v>
                </c:pt>
                <c:pt idx="5">
                  <c:v>11401966</c:v>
                </c:pt>
                <c:pt idx="6">
                  <c:v>7256352</c:v>
                </c:pt>
                <c:pt idx="7">
                  <c:v>579640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5.0"/>
          <c:min val="6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BBFC0B-AB72-468C-82F4-136DA379A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6CDC5C-3DF2-448E-B1C5-129790B23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E5F5A9-D593-4D78-8168-FE22B15AA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E8B9D7-254C-4A19-A04B-5D017C990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AE29CB-EDD6-4D50-9804-DF6E867D6E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1AE571-4467-4508-89F3-CDCE54756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C6F999-68BF-441A-9EE8-0155B7CED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82B6F8-3633-4447-BF2F-72E5E19A9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3.2715</c:v>
                </c:pt>
                <c:pt idx="1">
                  <c:v>202.0541</c:v>
                </c:pt>
                <c:pt idx="2">
                  <c:v>210.2211</c:v>
                </c:pt>
                <c:pt idx="3">
                  <c:v>88.9327</c:v>
                </c:pt>
                <c:pt idx="4">
                  <c:v>74.7126</c:v>
                </c:pt>
                <c:pt idx="5">
                  <c:v>227.9861</c:v>
                </c:pt>
              </c:numCache>
            </c:numRef>
          </c:xVal>
          <c:yVal>
            <c:numRef>
              <c:f>Sheet1!$B$2:$B$7</c:f>
              <c:numCache>
                <c:formatCode>General</c:formatCode>
                <c:ptCount val="6"/>
                <c:pt idx="0">
                  <c:v>1.228</c:v>
                </c:pt>
                <c:pt idx="1">
                  <c:v>0.89</c:v>
                </c:pt>
                <c:pt idx="2">
                  <c:v>0.848</c:v>
                </c:pt>
                <c:pt idx="3">
                  <c:v>0.486</c:v>
                </c:pt>
                <c:pt idx="4">
                  <c:v>0.454</c:v>
                </c:pt>
                <c:pt idx="5">
                  <c:v>3.162</c:v>
                </c:pt>
              </c:numCache>
            </c:numRef>
          </c:yVal>
          <c:bubbleSize>
            <c:numRef>
              <c:f>Sheet1!$C$2:$C$7</c:f>
              <c:numCache>
                <c:formatCode>General</c:formatCode>
                <c:ptCount val="6"/>
                <c:pt idx="0">
                  <c:v>111274571</c:v>
                </c:pt>
                <c:pt idx="1">
                  <c:v>42646557</c:v>
                </c:pt>
                <c:pt idx="2">
                  <c:v>26225287</c:v>
                </c:pt>
                <c:pt idx="3">
                  <c:v>9310814</c:v>
                </c:pt>
                <c:pt idx="4">
                  <c:v>6583303</c:v>
                </c:pt>
                <c:pt idx="5">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2.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C3E1BD-E776-48BD-899C-6346E014A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AC52DD-1D89-4CC0-9738-BF5B79A9D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3A59CC-5A34-41FE-ABB6-96CC81E7F6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62352A-DCDA-4EB0-8D5B-06C3C6BFF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BEE678-D91D-4880-9DA2-7C8551AE0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E863DD-CBF3-4A44-B65A-AE5232C22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5385E0-52A1-4A59-9404-8F290AE62D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51264E9-FA2A-45FE-96C9-15E72374D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89.7255</c:v>
                </c:pt>
                <c:pt idx="1">
                  <c:v>591.1292</c:v>
                </c:pt>
                <c:pt idx="2">
                  <c:v>569.417</c:v>
                </c:pt>
                <c:pt idx="3">
                  <c:v>592.0093</c:v>
                </c:pt>
                <c:pt idx="4">
                  <c:v>556.0793</c:v>
                </c:pt>
                <c:pt idx="5">
                  <c:v>326.0504</c:v>
                </c:pt>
                <c:pt idx="6">
                  <c:v>385.4487</c:v>
                </c:pt>
                <c:pt idx="7">
                  <c:v>591.6888</c:v>
                </c:pt>
              </c:numCache>
            </c:numRef>
          </c:xVal>
          <c:yVal>
            <c:numRef>
              <c:f>Sheet1!$B$2:$B$9</c:f>
              <c:numCache>
                <c:formatCode>General</c:formatCode>
                <c:ptCount val="8"/>
                <c:pt idx="0">
                  <c:v>0.712</c:v>
                </c:pt>
                <c:pt idx="1">
                  <c:v>1.508</c:v>
                </c:pt>
                <c:pt idx="2">
                  <c:v>1.749</c:v>
                </c:pt>
                <c:pt idx="3">
                  <c:v>2.423</c:v>
                </c:pt>
                <c:pt idx="4">
                  <c:v>1.486</c:v>
                </c:pt>
                <c:pt idx="5">
                  <c:v>0.859</c:v>
                </c:pt>
                <c:pt idx="6">
                  <c:v>1.347</c:v>
                </c:pt>
                <c:pt idx="7">
                  <c:v>2.2</c:v>
                </c:pt>
              </c:numCache>
            </c:numRef>
          </c:yVal>
          <c:bubbleSize>
            <c:numRef>
              <c:f>Sheet1!$C$2:$C$9</c:f>
              <c:numCache>
                <c:formatCode>General</c:formatCode>
                <c:ptCount val="8"/>
                <c:pt idx="0">
                  <c:v>27304308</c:v>
                </c:pt>
                <c:pt idx="1">
                  <c:v>25478849</c:v>
                </c:pt>
                <c:pt idx="2">
                  <c:v>9237082</c:v>
                </c:pt>
                <c:pt idx="3">
                  <c:v>7009390</c:v>
                </c:pt>
                <c:pt idx="4">
                  <c:v>3777447</c:v>
                </c:pt>
                <c:pt idx="5">
                  <c:v>3575795</c:v>
                </c:pt>
                <c:pt idx="6">
                  <c:v>2497322</c:v>
                </c:pt>
                <c:pt idx="7">
                  <c:v>184074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0.0"/>
          <c:min val="23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B4174C-83CD-4181-B1B6-F92C672AC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C485F5-3F2F-4993-8AEC-929D0A8FD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29E7F6-9F84-4C7C-B0A4-F0A5BB8DA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C8F446-69FC-4390-B640-45AEE9D50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9D4F2E9-1E90-4081-B7A6-9322015F5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E610A2-7CA9-45D7-89C8-734F1289E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5DD8BE-506F-4142-A0D9-EE0634F11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56B8BD-0678-4988-B811-359CE4CBE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5.5389</c:v>
                </c:pt>
                <c:pt idx="1">
                  <c:v>176.9993</c:v>
                </c:pt>
                <c:pt idx="2">
                  <c:v>75.2275</c:v>
                </c:pt>
              </c:numCache>
            </c:numRef>
          </c:xVal>
          <c:yVal>
            <c:numRef>
              <c:f>Sheet1!$B$2:$B$4</c:f>
              <c:numCache>
                <c:formatCode>General</c:formatCode>
                <c:ptCount val="3"/>
                <c:pt idx="0">
                  <c:v>1.145</c:v>
                </c:pt>
                <c:pt idx="1">
                  <c:v>1.121</c:v>
                </c:pt>
                <c:pt idx="2">
                  <c:v>0.58</c:v>
                </c:pt>
              </c:numCache>
            </c:numRef>
          </c:yVal>
          <c:bubbleSize>
            <c:numRef>
              <c:f>Sheet1!$C$2:$C$4</c:f>
              <c:numCache>
                <c:formatCode>General</c:formatCode>
                <c:ptCount val="3"/>
                <c:pt idx="0">
                  <c:v>13487454</c:v>
                </c:pt>
                <c:pt idx="1">
                  <c:v>11637350</c:v>
                </c:pt>
                <c:pt idx="2">
                  <c:v>37102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5.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F1EB36-A62E-455D-ACD1-2FF0469AD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17F0C9-6A9F-4317-8316-7A5D12832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F10B6C-BB54-4948-91FB-DB36D38F6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F2714B-16D2-4E46-B846-17D25B051C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C14583-2856-4187-B660-CC4001F8C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FE72BD-AD90-4D46-885A-E777459E7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DF75EA-C4D1-407B-A554-29EDF84DB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325787-CEF7-47D2-A98B-0BC4BC51F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4.6602</c:v>
                </c:pt>
                <c:pt idx="1">
                  <c:v>198.5987</c:v>
                </c:pt>
                <c:pt idx="2">
                  <c:v>192.9129</c:v>
                </c:pt>
                <c:pt idx="3">
                  <c:v>87.2158</c:v>
                </c:pt>
                <c:pt idx="4">
                  <c:v>74.168</c:v>
                </c:pt>
                <c:pt idx="5">
                  <c:v>220.0135</c:v>
                </c:pt>
              </c:numCache>
            </c:numRef>
          </c:xVal>
          <c:yVal>
            <c:numRef>
              <c:f>Sheet1!$B$2:$B$7</c:f>
              <c:numCache>
                <c:formatCode>General</c:formatCode>
                <c:ptCount val="6"/>
                <c:pt idx="0">
                  <c:v>1.275</c:v>
                </c:pt>
                <c:pt idx="1">
                  <c:v>0.855</c:v>
                </c:pt>
                <c:pt idx="2">
                  <c:v>0.859</c:v>
                </c:pt>
                <c:pt idx="3">
                  <c:v>0.477</c:v>
                </c:pt>
                <c:pt idx="4">
                  <c:v>0.446</c:v>
                </c:pt>
                <c:pt idx="5">
                  <c:v>3.078</c:v>
                </c:pt>
              </c:numCache>
            </c:numRef>
          </c:yVal>
          <c:bubbleSize>
            <c:numRef>
              <c:f>Sheet1!$C$2:$C$7</c:f>
              <c:numCache>
                <c:formatCode>General</c:formatCode>
                <c:ptCount val="6"/>
                <c:pt idx="0">
                  <c:v>76877378</c:v>
                </c:pt>
                <c:pt idx="1">
                  <c:v>26121485</c:v>
                </c:pt>
                <c:pt idx="2">
                  <c:v>20488126</c:v>
                </c:pt>
                <c:pt idx="3">
                  <c:v>7108348</c:v>
                </c:pt>
                <c:pt idx="4">
                  <c:v>3174094</c:v>
                </c:pt>
                <c:pt idx="5">
                  <c:v>191719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4.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A0599E-A56E-4342-9614-49DB68652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566C67-E927-4FD0-9EAB-09BBD0F07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B20F43-8AC9-4E28-B198-1EA4A15D1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0BC910-71D4-44B2-8059-488F7A5B1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2F684A-49F0-4A98-9061-7CD6327B9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E17F47-AC74-49B2-A4B4-8FE591943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482CBD1-9942-443C-8831-B58E5B6E09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A00BF0-BF13-4089-AFFB-E9288FCD2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52.8728</c:v>
                </c:pt>
                <c:pt idx="1">
                  <c:v>544.9942</c:v>
                </c:pt>
                <c:pt idx="2">
                  <c:v>292.4042</c:v>
                </c:pt>
                <c:pt idx="3">
                  <c:v>574.2405</c:v>
                </c:pt>
                <c:pt idx="4">
                  <c:v>521.0654</c:v>
                </c:pt>
                <c:pt idx="5">
                  <c:v>613.4706</c:v>
                </c:pt>
                <c:pt idx="6">
                  <c:v>493.8476</c:v>
                </c:pt>
                <c:pt idx="7">
                  <c:v>402.1162</c:v>
                </c:pt>
              </c:numCache>
            </c:numRef>
          </c:xVal>
          <c:yVal>
            <c:numRef>
              <c:f>Sheet1!$B$2:$B$9</c:f>
              <c:numCache>
                <c:formatCode>General</c:formatCode>
                <c:ptCount val="8"/>
                <c:pt idx="0">
                  <c:v>1.211</c:v>
                </c:pt>
                <c:pt idx="1">
                  <c:v>1.61</c:v>
                </c:pt>
                <c:pt idx="2">
                  <c:v>0.595</c:v>
                </c:pt>
                <c:pt idx="3">
                  <c:v>1.413</c:v>
                </c:pt>
                <c:pt idx="4">
                  <c:v>1.158</c:v>
                </c:pt>
                <c:pt idx="5">
                  <c:v>0.875</c:v>
                </c:pt>
                <c:pt idx="6">
                  <c:v>1.44</c:v>
                </c:pt>
                <c:pt idx="7">
                  <c:v>1.133</c:v>
                </c:pt>
              </c:numCache>
            </c:numRef>
          </c:yVal>
          <c:bubbleSize>
            <c:numRef>
              <c:f>Sheet1!$C$2:$C$9</c:f>
              <c:numCache>
                <c:formatCode>General</c:formatCode>
                <c:ptCount val="8"/>
                <c:pt idx="0">
                  <c:v>38563986</c:v>
                </c:pt>
                <c:pt idx="1">
                  <c:v>20599144</c:v>
                </c:pt>
                <c:pt idx="2">
                  <c:v>19050720</c:v>
                </c:pt>
                <c:pt idx="3">
                  <c:v>12851502</c:v>
                </c:pt>
                <c:pt idx="4">
                  <c:v>10428081</c:v>
                </c:pt>
                <c:pt idx="5">
                  <c:v>4896109</c:v>
                </c:pt>
                <c:pt idx="6">
                  <c:v>4599203</c:v>
                </c:pt>
                <c:pt idx="7">
                  <c:v>291011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6.0"/>
          <c:min val="23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567859-AAAA-41F0-9868-34328FDBF7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6D9A66-25E7-4E30-9D1A-B2D134D0D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77A781-D317-429F-AC86-B3684B7A0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2F5AD4-A42D-4E37-9984-65FCB4302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22200E-780B-4326-948E-EAE005B4FB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0960ACB-4B2E-4C20-B854-2C3042ECD1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6D6E07-D20D-4098-9CEB-4A66861D8F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B9444C-CFD7-4AA9-ADE6-16108CE2FC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27.5381</c:v>
                </c:pt>
                <c:pt idx="1">
                  <c:v>181.9762</c:v>
                </c:pt>
                <c:pt idx="2">
                  <c:v>73.2502</c:v>
                </c:pt>
              </c:numCache>
            </c:numRef>
          </c:xVal>
          <c:yVal>
            <c:numRef>
              <c:f>Sheet1!$B$2:$B$4</c:f>
              <c:numCache>
                <c:formatCode>General</c:formatCode>
                <c:ptCount val="3"/>
                <c:pt idx="0">
                  <c:v>1.114</c:v>
                </c:pt>
                <c:pt idx="1">
                  <c:v>1.102</c:v>
                </c:pt>
                <c:pt idx="2">
                  <c:v>0.627</c:v>
                </c:pt>
              </c:numCache>
            </c:numRef>
          </c:yVal>
          <c:bubbleSize>
            <c:numRef>
              <c:f>Sheet1!$C$2:$C$4</c:f>
              <c:numCache>
                <c:formatCode>General</c:formatCode>
                <c:ptCount val="3"/>
                <c:pt idx="0">
                  <c:v>10876777</c:v>
                </c:pt>
                <c:pt idx="1">
                  <c:v>6204479</c:v>
                </c:pt>
                <c:pt idx="2">
                  <c:v>23738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3.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B96DC1-177E-483E-8A68-0F11FC443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5D47D5-D698-483F-8E2F-BEA63DC63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41B3DF-5917-477A-B5FB-26FAC6FC3F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FEC8D8-7246-4EA3-BE2A-BC8F7F051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3EDA7F-B897-4DDE-9E11-59638E5501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679AF9-22BB-41D0-8A52-5CDAC36830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110A5D6-8356-4F05-A8F8-E9B0A8F521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4E4F66-440C-419A-814A-1BF82C13F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1934</c:v>
                </c:pt>
                <c:pt idx="1">
                  <c:v>221.7888</c:v>
                </c:pt>
                <c:pt idx="2">
                  <c:v>222.1692</c:v>
                </c:pt>
                <c:pt idx="3">
                  <c:v>91.4677</c:v>
                </c:pt>
                <c:pt idx="4">
                  <c:v>73.7171</c:v>
                </c:pt>
                <c:pt idx="5">
                  <c:v>156.0933</c:v>
                </c:pt>
              </c:numCache>
            </c:numRef>
          </c:xVal>
          <c:yVal>
            <c:numRef>
              <c:f>Sheet1!$B$2:$B$7</c:f>
              <c:numCache>
                <c:formatCode>General</c:formatCode>
                <c:ptCount val="6"/>
                <c:pt idx="0">
                  <c:v>1.186</c:v>
                </c:pt>
                <c:pt idx="1">
                  <c:v>0.909</c:v>
                </c:pt>
                <c:pt idx="2">
                  <c:v>0.923</c:v>
                </c:pt>
                <c:pt idx="3">
                  <c:v>0.496</c:v>
                </c:pt>
                <c:pt idx="4">
                  <c:v>0.469</c:v>
                </c:pt>
                <c:pt idx="5">
                  <c:v>2.363</c:v>
                </c:pt>
              </c:numCache>
            </c:numRef>
          </c:yVal>
          <c:bubbleSize>
            <c:numRef>
              <c:f>Sheet1!$C$2:$C$7</c:f>
              <c:numCache>
                <c:formatCode>General</c:formatCode>
                <c:ptCount val="6"/>
                <c:pt idx="0">
                  <c:v>106919192</c:v>
                </c:pt>
                <c:pt idx="1">
                  <c:v>35460921</c:v>
                </c:pt>
                <c:pt idx="2">
                  <c:v>19002574</c:v>
                </c:pt>
                <c:pt idx="3">
                  <c:v>7573435</c:v>
                </c:pt>
                <c:pt idx="4">
                  <c:v>3202788</c:v>
                </c:pt>
                <c:pt idx="5">
                  <c:v>22344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967D35-9027-4834-9BC8-91D237A7BE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51169E-75BE-4ACA-8DFB-9FFE1FECBD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971CB9-F6A4-4FA2-B679-0401421E6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C49062-4855-4C1A-83F3-F35B950D5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DAE41E-C134-456F-82E8-11EF92680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1C6E6D-B725-4445-B247-92B59F193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F8B29EB-46C4-4087-8EE4-9D7F609DE3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AF0F3F-EF0A-4C72-824C-8FED388A4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80.8538</c:v>
                </c:pt>
                <c:pt idx="1">
                  <c:v>605.0969</c:v>
                </c:pt>
                <c:pt idx="2">
                  <c:v>520.9909</c:v>
                </c:pt>
                <c:pt idx="3">
                  <c:v>300.5639</c:v>
                </c:pt>
                <c:pt idx="4">
                  <c:v>588.9122</c:v>
                </c:pt>
                <c:pt idx="5">
                  <c:v>553.514</c:v>
                </c:pt>
                <c:pt idx="6">
                  <c:v>386.5265</c:v>
                </c:pt>
              </c:numCache>
            </c:numRef>
          </c:xVal>
          <c:yVal>
            <c:numRef>
              <c:f>Sheet1!$B$2:$B$8</c:f>
              <c:numCache>
                <c:formatCode>General</c:formatCode>
                <c:ptCount val="7"/>
                <c:pt idx="0">
                  <c:v>0.886</c:v>
                </c:pt>
                <c:pt idx="1">
                  <c:v>2.142</c:v>
                </c:pt>
                <c:pt idx="2">
                  <c:v>2.415</c:v>
                </c:pt>
                <c:pt idx="3">
                  <c:v>1.099</c:v>
                </c:pt>
                <c:pt idx="4">
                  <c:v>2.056</c:v>
                </c:pt>
                <c:pt idx="5">
                  <c:v>11.252</c:v>
                </c:pt>
                <c:pt idx="6">
                  <c:v>4.623</c:v>
                </c:pt>
              </c:numCache>
            </c:numRef>
          </c:yVal>
          <c:bubbleSize>
            <c:numRef>
              <c:f>Sheet1!$C$2:$C$8</c:f>
              <c:numCache>
                <c:formatCode>General</c:formatCode>
                <c:ptCount val="7"/>
                <c:pt idx="0">
                  <c:v>12857206</c:v>
                </c:pt>
                <c:pt idx="1">
                  <c:v>3786091</c:v>
                </c:pt>
                <c:pt idx="2">
                  <c:v>2173053</c:v>
                </c:pt>
                <c:pt idx="3">
                  <c:v>1656708</c:v>
                </c:pt>
                <c:pt idx="4">
                  <c:v>1072998</c:v>
                </c:pt>
                <c:pt idx="5">
                  <c:v>792632</c:v>
                </c:pt>
                <c:pt idx="6">
                  <c:v>4441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6.0"/>
          <c:min val="2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1ACD36-F052-4F03-A13A-2A56734E7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BE9530-40CD-421A-BBD9-5DA651069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249B60-C0B5-4636-90B7-57B5CE13C1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5DDCBB-E8AC-4132-B627-07F666134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41CD285-B4FA-4D9F-AC72-9A07531CC6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9C9FC3-8025-4826-ACD3-5CDBEA9BD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343514-B98F-4A73-AF1C-7A7EFCD29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1A7B3F-CFF0-40B9-B077-3CF966799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41.6265</c:v>
                </c:pt>
                <c:pt idx="1">
                  <c:v>220.4366</c:v>
                </c:pt>
                <c:pt idx="2">
                  <c:v>77.321</c:v>
                </c:pt>
                <c:pt idx="3">
                  <c:v>333.8077</c:v>
                </c:pt>
              </c:numCache>
            </c:numRef>
          </c:xVal>
          <c:yVal>
            <c:numRef>
              <c:f>Sheet1!$B$2:$B$5</c:f>
              <c:numCache>
                <c:formatCode>General</c:formatCode>
                <c:ptCount val="4"/>
                <c:pt idx="0">
                  <c:v>1.108</c:v>
                </c:pt>
                <c:pt idx="1">
                  <c:v>1.043</c:v>
                </c:pt>
                <c:pt idx="2">
                  <c:v>0.61</c:v>
                </c:pt>
                <c:pt idx="3">
                  <c:v>1.715</c:v>
                </c:pt>
              </c:numCache>
            </c:numRef>
          </c:yVal>
          <c:bubbleSize>
            <c:numRef>
              <c:f>Sheet1!$C$2:$C$5</c:f>
              <c:numCache>
                <c:formatCode>General</c:formatCode>
                <c:ptCount val="4"/>
                <c:pt idx="0">
                  <c:v>14829826</c:v>
                </c:pt>
                <c:pt idx="1">
                  <c:v>10425110</c:v>
                </c:pt>
                <c:pt idx="2">
                  <c:v>2580898</c:v>
                </c:pt>
                <c:pt idx="3">
                  <c:v>6091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01.0"/>
          <c:min val="6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AC2962-D6D7-486A-AB0B-18E6695497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C17E26E-5ABD-475A-9CBC-8CC7C37EF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E90BDD-1853-4A7B-B21A-D32A7B9A5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154A3A-EDBC-48A3-BE68-0FB2458A42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D22CC8-BD07-43E0-83E4-18ECBE098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42E6F4-835D-4B79-BCF6-82AC9217BF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94BB30-4791-42B7-8E84-A5BE5C595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975DD8D-D9EC-4F6C-A29B-F36E65867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6365</c:v>
                </c:pt>
                <c:pt idx="1">
                  <c:v>213.0857</c:v>
                </c:pt>
                <c:pt idx="2">
                  <c:v>219.7494</c:v>
                </c:pt>
                <c:pt idx="3">
                  <c:v>89.7135</c:v>
                </c:pt>
                <c:pt idx="4">
                  <c:v>74.4418</c:v>
                </c:pt>
                <c:pt idx="5">
                  <c:v>214.8602</c:v>
                </c:pt>
              </c:numCache>
            </c:numRef>
          </c:xVal>
          <c:yVal>
            <c:numRef>
              <c:f>Sheet1!$B$2:$B$7</c:f>
              <c:numCache>
                <c:formatCode>General</c:formatCode>
                <c:ptCount val="6"/>
                <c:pt idx="0">
                  <c:v>1.24</c:v>
                </c:pt>
                <c:pt idx="1">
                  <c:v>0.906</c:v>
                </c:pt>
                <c:pt idx="2">
                  <c:v>0.881</c:v>
                </c:pt>
                <c:pt idx="3">
                  <c:v>0.53</c:v>
                </c:pt>
                <c:pt idx="4">
                  <c:v>0.468</c:v>
                </c:pt>
                <c:pt idx="5">
                  <c:v>3.187</c:v>
                </c:pt>
              </c:numCache>
            </c:numRef>
          </c:yVal>
          <c:bubbleSize>
            <c:numRef>
              <c:f>Sheet1!$C$2:$C$7</c:f>
              <c:numCache>
                <c:formatCode>General</c:formatCode>
                <c:ptCount val="6"/>
                <c:pt idx="0">
                  <c:v>88331422</c:v>
                </c:pt>
                <c:pt idx="1">
                  <c:v>31006308</c:v>
                </c:pt>
                <c:pt idx="2">
                  <c:v>19425192</c:v>
                </c:pt>
                <c:pt idx="3">
                  <c:v>9096325</c:v>
                </c:pt>
                <c:pt idx="4">
                  <c:v>4963182</c:v>
                </c:pt>
                <c:pt idx="5">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899447-E24F-4603-95D5-2AEFB7C5E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5394A1-A698-4FED-A70F-BBF5FD1C0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A7B54F-3745-4910-9C47-2F9328C1E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75E720-D5D4-4058-9E46-18A5A928B0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335487-86D6-4DB1-B114-7076925E3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C09228-B250-43DE-A2E2-AFAA8B582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9B6AED-9BA4-4174-AA51-22D859FE8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2F3C89D-B0D9-40B8-B916-F86584C03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0.4718</c:v>
                </c:pt>
                <c:pt idx="1">
                  <c:v>218.8167</c:v>
                </c:pt>
                <c:pt idx="2">
                  <c:v>240.5857</c:v>
                </c:pt>
                <c:pt idx="3">
                  <c:v>294.8242</c:v>
                </c:pt>
                <c:pt idx="4">
                  <c:v>600.3644</c:v>
                </c:pt>
                <c:pt idx="5">
                  <c:v>80.7539</c:v>
                </c:pt>
                <c:pt idx="6">
                  <c:v>556.3718</c:v>
                </c:pt>
                <c:pt idx="7">
                  <c:v>597.6668</c:v>
                </c:pt>
              </c:numCache>
            </c:numRef>
          </c:xVal>
          <c:yVal>
            <c:numRef>
              <c:f>Sheet1!$B$2:$B$9</c:f>
              <c:numCache>
                <c:formatCode>General</c:formatCode>
                <c:ptCount val="8"/>
                <c:pt idx="0">
                  <c:v>1.101</c:v>
                </c:pt>
                <c:pt idx="1">
                  <c:v>0.801</c:v>
                </c:pt>
                <c:pt idx="2">
                  <c:v>0.804</c:v>
                </c:pt>
                <c:pt idx="3">
                  <c:v>2.207</c:v>
                </c:pt>
                <c:pt idx="4">
                  <c:v>4.558</c:v>
                </c:pt>
                <c:pt idx="5">
                  <c:v>0.434</c:v>
                </c:pt>
                <c:pt idx="6">
                  <c:v>8.082</c:v>
                </c:pt>
                <c:pt idx="7">
                  <c:v>5.956</c:v>
                </c:pt>
              </c:numCache>
            </c:numRef>
          </c:yVal>
          <c:bubbleSize>
            <c:numRef>
              <c:f>Sheet1!$C$2:$C$9</c:f>
              <c:numCache>
                <c:formatCode>General</c:formatCode>
                <c:ptCount val="8"/>
                <c:pt idx="0">
                  <c:v>70722047</c:v>
                </c:pt>
                <c:pt idx="1">
                  <c:v>34560135</c:v>
                </c:pt>
                <c:pt idx="2">
                  <c:v>31515279</c:v>
                </c:pt>
                <c:pt idx="3">
                  <c:v>9333249</c:v>
                </c:pt>
                <c:pt idx="4">
                  <c:v>5824135</c:v>
                </c:pt>
                <c:pt idx="5">
                  <c:v>5525749</c:v>
                </c:pt>
                <c:pt idx="6">
                  <c:v>3208596</c:v>
                </c:pt>
                <c:pt idx="7">
                  <c:v>269966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20.0"/>
          <c:min val="6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D9DEA4-80C3-4117-84BA-836C45413F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A15DA3-2A68-4397-AD61-3499D563E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C4C63C-0D69-4B7E-9F45-75187228B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02375D-8F5C-44E0-B639-75EBC1472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AC3B96-83AF-4CD9-B225-D328149CA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118951-2730-412D-A7EC-B3D0E751FD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9A4507-38DB-48EC-974B-54063D0C1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5A859D-AA62-403C-955F-053B96E5A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90.5508</c:v>
                </c:pt>
                <c:pt idx="1">
                  <c:v>289.0043</c:v>
                </c:pt>
                <c:pt idx="2">
                  <c:v>592.2799</c:v>
                </c:pt>
                <c:pt idx="3">
                  <c:v>586.8087</c:v>
                </c:pt>
                <c:pt idx="4">
                  <c:v>555.4856</c:v>
                </c:pt>
                <c:pt idx="5">
                  <c:v>322.9757</c:v>
                </c:pt>
                <c:pt idx="6">
                  <c:v>599.9994</c:v>
                </c:pt>
                <c:pt idx="7">
                  <c:v>692.619</c:v>
                </c:pt>
              </c:numCache>
            </c:numRef>
          </c:xVal>
          <c:yVal>
            <c:numRef>
              <c:f>Sheet1!$B$2:$B$9</c:f>
              <c:numCache>
                <c:formatCode>General</c:formatCode>
                <c:ptCount val="8"/>
                <c:pt idx="0">
                  <c:v>1.346</c:v>
                </c:pt>
                <c:pt idx="1">
                  <c:v>0.67</c:v>
                </c:pt>
                <c:pt idx="2">
                  <c:v>1.717</c:v>
                </c:pt>
                <c:pt idx="3">
                  <c:v>2.284</c:v>
                </c:pt>
                <c:pt idx="4">
                  <c:v>1.489</c:v>
                </c:pt>
                <c:pt idx="5">
                  <c:v>0.815</c:v>
                </c:pt>
                <c:pt idx="6">
                  <c:v>2.167</c:v>
                </c:pt>
                <c:pt idx="7">
                  <c:v>1.334</c:v>
                </c:pt>
              </c:numCache>
            </c:numRef>
          </c:yVal>
          <c:bubbleSize>
            <c:numRef>
              <c:f>Sheet1!$C$2:$C$9</c:f>
              <c:numCache>
                <c:formatCode>General</c:formatCode>
                <c:ptCount val="8"/>
                <c:pt idx="0">
                  <c:v>17830499</c:v>
                </c:pt>
                <c:pt idx="1">
                  <c:v>15832523</c:v>
                </c:pt>
                <c:pt idx="2">
                  <c:v>6878146</c:v>
                </c:pt>
                <c:pt idx="3">
                  <c:v>6449028</c:v>
                </c:pt>
                <c:pt idx="4">
                  <c:v>3533444</c:v>
                </c:pt>
                <c:pt idx="5">
                  <c:v>2700077</c:v>
                </c:pt>
                <c:pt idx="6">
                  <c:v>1855198</c:v>
                </c:pt>
                <c:pt idx="7">
                  <c:v>168167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31.0"/>
          <c:min val="2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C854A3-C507-4D40-A0F0-A6E005A99D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476511-AB6A-4AC2-8363-6C50C6DAE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E14403-122F-4381-A9EE-6865C69B8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BDA8B8-7229-4FAA-84BF-1585E6A31A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EABD64-9603-4A65-82E5-DD9BA81F1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A9D4AC-8FDB-47AD-AD01-A4B249579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523E9A9-87B6-495A-80A9-9435ADEE7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B2C7EA-565E-4705-8713-A90D2D6C7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47.3659</c:v>
                </c:pt>
                <c:pt idx="1">
                  <c:v>202.6541</c:v>
                </c:pt>
                <c:pt idx="2">
                  <c:v>74.3763</c:v>
                </c:pt>
              </c:numCache>
            </c:numRef>
          </c:xVal>
          <c:yVal>
            <c:numRef>
              <c:f>Sheet1!$B$2:$B$4</c:f>
              <c:numCache>
                <c:formatCode>General</c:formatCode>
                <c:ptCount val="3"/>
                <c:pt idx="0">
                  <c:v>1.144</c:v>
                </c:pt>
                <c:pt idx="1">
                  <c:v>1.112</c:v>
                </c:pt>
                <c:pt idx="2">
                  <c:v>0.63</c:v>
                </c:pt>
              </c:numCache>
            </c:numRef>
          </c:yVal>
          <c:bubbleSize>
            <c:numRef>
              <c:f>Sheet1!$C$2:$C$4</c:f>
              <c:numCache>
                <c:formatCode>General</c:formatCode>
                <c:ptCount val="3"/>
                <c:pt idx="0">
                  <c:v>11537145</c:v>
                </c:pt>
                <c:pt idx="1">
                  <c:v>7694775</c:v>
                </c:pt>
                <c:pt idx="2">
                  <c:v>33658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7.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C4813EF-BE18-47E3-B433-3631CF68D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256AB1-6A8E-43CB-8D1F-A7DCC477D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D0B42F-4D83-40AC-936B-15B1CB8598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01B395-D279-4AEE-AA22-8533061AC2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FC9981-5B60-4237-937A-D47E5A38B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86F1CD-62F2-431A-9960-408939C89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36B26A1-4942-400F-963D-216DCFDB7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25C958-A0DC-43D5-9A1A-63066B237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6.5461</c:v>
                </c:pt>
                <c:pt idx="1">
                  <c:v>218.1221</c:v>
                </c:pt>
                <c:pt idx="2">
                  <c:v>231.688</c:v>
                </c:pt>
                <c:pt idx="3">
                  <c:v>89.6171</c:v>
                </c:pt>
                <c:pt idx="4">
                  <c:v>74.8204</c:v>
                </c:pt>
                <c:pt idx="5">
                  <c:v>221.1781</c:v>
                </c:pt>
              </c:numCache>
            </c:numRef>
          </c:xVal>
          <c:yVal>
            <c:numRef>
              <c:f>Sheet1!$B$2:$B$7</c:f>
              <c:numCache>
                <c:formatCode>General</c:formatCode>
                <c:ptCount val="6"/>
                <c:pt idx="0">
                  <c:v>1.264</c:v>
                </c:pt>
                <c:pt idx="1">
                  <c:v>0.941</c:v>
                </c:pt>
                <c:pt idx="2">
                  <c:v>0.931</c:v>
                </c:pt>
                <c:pt idx="3">
                  <c:v>0.494</c:v>
                </c:pt>
                <c:pt idx="4">
                  <c:v>0.466</c:v>
                </c:pt>
                <c:pt idx="5">
                  <c:v>3.228</c:v>
                </c:pt>
              </c:numCache>
            </c:numRef>
          </c:yVal>
          <c:bubbleSize>
            <c:numRef>
              <c:f>Sheet1!$C$2:$C$7</c:f>
              <c:numCache>
                <c:formatCode>General</c:formatCode>
                <c:ptCount val="6"/>
                <c:pt idx="0">
                  <c:v>71214845</c:v>
                </c:pt>
                <c:pt idx="1">
                  <c:v>34650228</c:v>
                </c:pt>
                <c:pt idx="2">
                  <c:v>23619901</c:v>
                </c:pt>
                <c:pt idx="3">
                  <c:v>8454656</c:v>
                </c:pt>
                <c:pt idx="4">
                  <c:v>4294539</c:v>
                </c:pt>
                <c:pt idx="5">
                  <c:v>195145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6.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C725FD-76A6-4C84-9819-9B6136874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151C81-0198-4043-B2CD-6254CA744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6BF9FD-FCA4-4B7F-AFEA-063C74016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80D710-6F9C-4254-90BD-ABCE24643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09220A-37FE-498F-8C21-A321ED2CF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1C2E35-A0A9-4041-B108-38D0F9AE5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9C7011-D39D-4D4D-ACBF-C6FA1425D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544C1F-DB5A-4728-9B83-31FD9B510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587.347</c:v>
                </c:pt>
                <c:pt idx="1">
                  <c:v>296.7036</c:v>
                </c:pt>
                <c:pt idx="2">
                  <c:v>577.6143</c:v>
                </c:pt>
                <c:pt idx="3">
                  <c:v>583.7417</c:v>
                </c:pt>
                <c:pt idx="4">
                  <c:v>541.6534</c:v>
                </c:pt>
                <c:pt idx="5">
                  <c:v>569.4195</c:v>
                </c:pt>
                <c:pt idx="6">
                  <c:v>328.0126</c:v>
                </c:pt>
                <c:pt idx="7">
                  <c:v>675.122</c:v>
                </c:pt>
              </c:numCache>
            </c:numRef>
          </c:xVal>
          <c:yVal>
            <c:numRef>
              <c:f>Sheet1!$B$2:$B$9</c:f>
              <c:numCache>
                <c:formatCode>General</c:formatCode>
                <c:ptCount val="8"/>
                <c:pt idx="0">
                  <c:v>1.319</c:v>
                </c:pt>
                <c:pt idx="1">
                  <c:v>0.721</c:v>
                </c:pt>
                <c:pt idx="2">
                  <c:v>2.123</c:v>
                </c:pt>
                <c:pt idx="3">
                  <c:v>1.653</c:v>
                </c:pt>
                <c:pt idx="4">
                  <c:v>1.497</c:v>
                </c:pt>
                <c:pt idx="5">
                  <c:v>1.956</c:v>
                </c:pt>
                <c:pt idx="6">
                  <c:v>0.87</c:v>
                </c:pt>
                <c:pt idx="7">
                  <c:v>1.203</c:v>
                </c:pt>
              </c:numCache>
            </c:numRef>
          </c:yVal>
          <c:bubbleSize>
            <c:numRef>
              <c:f>Sheet1!$C$2:$C$9</c:f>
              <c:numCache>
                <c:formatCode>General</c:formatCode>
                <c:ptCount val="8"/>
                <c:pt idx="0">
                  <c:v>16648350</c:v>
                </c:pt>
                <c:pt idx="1">
                  <c:v>15085897</c:v>
                </c:pt>
                <c:pt idx="2">
                  <c:v>6503359</c:v>
                </c:pt>
                <c:pt idx="3">
                  <c:v>5453315</c:v>
                </c:pt>
                <c:pt idx="4">
                  <c:v>3844114</c:v>
                </c:pt>
                <c:pt idx="5">
                  <c:v>2465017</c:v>
                </c:pt>
                <c:pt idx="6">
                  <c:v>1769628</c:v>
                </c:pt>
                <c:pt idx="7">
                  <c:v>173236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10.0"/>
          <c:min val="23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A48A11-5D52-4448-83BD-E2214B55EF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271B09-65DF-4BBE-BC8C-5E9C5D576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C1A520-908D-4159-BCE9-9DA80FF168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445D2B-FF4F-45CB-8352-FF6E8B979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9226715-FF80-4B61-A786-941B45934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0F9B23-FBE7-4C6B-B21E-38D6B29F7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6DDCF6-96C0-4937-97B0-2793B45A5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847A0F-CB57-40C3-A420-3B3B9547B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2.4537</c:v>
                </c:pt>
                <c:pt idx="1">
                  <c:v>211.6416</c:v>
                </c:pt>
                <c:pt idx="2">
                  <c:v>76.6016</c:v>
                </c:pt>
              </c:numCache>
            </c:numRef>
          </c:xVal>
          <c:yVal>
            <c:numRef>
              <c:f>Sheet1!$B$2:$B$4</c:f>
              <c:numCache>
                <c:formatCode>General</c:formatCode>
                <c:ptCount val="3"/>
                <c:pt idx="0">
                  <c:v>1.148</c:v>
                </c:pt>
                <c:pt idx="1">
                  <c:v>1.065</c:v>
                </c:pt>
                <c:pt idx="2">
                  <c:v>0.573</c:v>
                </c:pt>
              </c:numCache>
            </c:numRef>
          </c:yVal>
          <c:bubbleSize>
            <c:numRef>
              <c:f>Sheet1!$C$2:$C$4</c:f>
              <c:numCache>
                <c:formatCode>General</c:formatCode>
                <c:ptCount val="3"/>
                <c:pt idx="0">
                  <c:v>15635682</c:v>
                </c:pt>
                <c:pt idx="1">
                  <c:v>8965349</c:v>
                </c:pt>
                <c:pt idx="2">
                  <c:v>29112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15.0"/>
          <c:min val="6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89887C3-5A47-4572-9F66-0C64718DA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CC0FFD-8F1D-4A83-AEEB-422A32030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A7CEAA-8536-4081-8F17-E1055CFA2F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43CA31-769A-4F84-9849-8FBE453ED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88791B2-31D9-4A2B-8CBF-D695D0028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40EF23-D9E2-4787-B11E-3F61F5B14F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C963E0-6F02-42BF-9726-9AD8C9547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AAEE3B-E627-4DA6-A5E7-603D1C86F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2.5107</c:v>
                </c:pt>
                <c:pt idx="1">
                  <c:v>221.8628</c:v>
                </c:pt>
                <c:pt idx="2">
                  <c:v>232.2505</c:v>
                </c:pt>
                <c:pt idx="3">
                  <c:v>85.3912</c:v>
                </c:pt>
                <c:pt idx="4">
                  <c:v>73.0856</c:v>
                </c:pt>
                <c:pt idx="5">
                  <c:v>222.3146</c:v>
                </c:pt>
              </c:numCache>
            </c:numRef>
          </c:xVal>
          <c:yVal>
            <c:numRef>
              <c:f>Sheet1!$B$2:$B$7</c:f>
              <c:numCache>
                <c:formatCode>General</c:formatCode>
                <c:ptCount val="6"/>
                <c:pt idx="0">
                  <c:v>1.19</c:v>
                </c:pt>
                <c:pt idx="1">
                  <c:v>0.883</c:v>
                </c:pt>
                <c:pt idx="2">
                  <c:v>0.899</c:v>
                </c:pt>
                <c:pt idx="3">
                  <c:v>0.472</c:v>
                </c:pt>
                <c:pt idx="4">
                  <c:v>0.426</c:v>
                </c:pt>
                <c:pt idx="5">
                  <c:v>3.007</c:v>
                </c:pt>
              </c:numCache>
            </c:numRef>
          </c:yVal>
          <c:bubbleSize>
            <c:numRef>
              <c:f>Sheet1!$C$2:$C$7</c:f>
              <c:numCache>
                <c:formatCode>General</c:formatCode>
                <c:ptCount val="6"/>
                <c:pt idx="0">
                  <c:v>68815552</c:v>
                </c:pt>
                <c:pt idx="1">
                  <c:v>25554382</c:v>
                </c:pt>
                <c:pt idx="2">
                  <c:v>16630064</c:v>
                </c:pt>
                <c:pt idx="3">
                  <c:v>4259142</c:v>
                </c:pt>
                <c:pt idx="4">
                  <c:v>1528440</c:v>
                </c:pt>
                <c:pt idx="5">
                  <c:v>149262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1.0"/>
          <c:min val="5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1A3CF0-D8EE-4E64-8631-AFD99E5CA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B357B3-BEAD-4BA0-AFA2-80144FD05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23E781-3EE8-4288-9755-C43F556D0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ACA605-F6B5-4AEB-98F4-4F04E0484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CCC70B-6DF2-46A1-B8D2-C76371522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C7DFE44-0584-449B-B9D1-CE2FCDCEC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56FE6E-4A85-4CA7-A130-FB4930A0E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A59FA1-4B40-4D05-BD73-4119F0D42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4.3934</c:v>
                </c:pt>
                <c:pt idx="1">
                  <c:v>600.3644</c:v>
                </c:pt>
                <c:pt idx="2">
                  <c:v>559.7216</c:v>
                </c:pt>
                <c:pt idx="3">
                  <c:v>601.637</c:v>
                </c:pt>
                <c:pt idx="4">
                  <c:v>322.1038</c:v>
                </c:pt>
                <c:pt idx="5">
                  <c:v>564.929</c:v>
                </c:pt>
                <c:pt idx="6">
                  <c:v>725.8896</c:v>
                </c:pt>
              </c:numCache>
            </c:numRef>
          </c:xVal>
          <c:yVal>
            <c:numRef>
              <c:f>Sheet1!$B$2:$B$8</c:f>
              <c:numCache>
                <c:formatCode>General</c:formatCode>
                <c:ptCount val="7"/>
                <c:pt idx="0">
                  <c:v>0.812</c:v>
                </c:pt>
                <c:pt idx="1">
                  <c:v>1.707</c:v>
                </c:pt>
                <c:pt idx="2">
                  <c:v>2.993</c:v>
                </c:pt>
                <c:pt idx="3">
                  <c:v>2.229</c:v>
                </c:pt>
                <c:pt idx="4">
                  <c:v>1.038</c:v>
                </c:pt>
                <c:pt idx="5">
                  <c:v>2.003</c:v>
                </c:pt>
                <c:pt idx="6">
                  <c:v>1.708</c:v>
                </c:pt>
              </c:numCache>
            </c:numRef>
          </c:yVal>
          <c:bubbleSize>
            <c:numRef>
              <c:f>Sheet1!$C$2:$C$8</c:f>
              <c:numCache>
                <c:formatCode>General</c:formatCode>
                <c:ptCount val="7"/>
                <c:pt idx="0">
                  <c:v>9055836</c:v>
                </c:pt>
                <c:pt idx="1">
                  <c:v>5824135</c:v>
                </c:pt>
                <c:pt idx="2">
                  <c:v>3172502</c:v>
                </c:pt>
                <c:pt idx="3">
                  <c:v>2633967</c:v>
                </c:pt>
                <c:pt idx="4">
                  <c:v>1150877</c:v>
                </c:pt>
                <c:pt idx="5">
                  <c:v>1106131</c:v>
                </c:pt>
                <c:pt idx="6">
                  <c:v>76291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71.0"/>
          <c:min val="23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7F4D03-CA3C-42BC-A779-B249F9789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13A38A9-ABF8-436A-8DEA-61EA723A07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AA18A1-1F1B-4D29-B98F-BA96BC2A9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7CBAC5-362D-4A8F-988D-D26B4F47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A2E4AD-9A71-4506-9649-696FFFFBD3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A4485A-09F4-4A2F-9B15-419DF8FD3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2F3807-73A3-4268-A03A-3C97EBE48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0385021-5D23-4938-8172-7BE7D7B1B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67.4881</c:v>
                </c:pt>
                <c:pt idx="1">
                  <c:v>208.134</c:v>
                </c:pt>
                <c:pt idx="2">
                  <c:v>68.6597</c:v>
                </c:pt>
              </c:numCache>
            </c:numRef>
          </c:xVal>
          <c:yVal>
            <c:numRef>
              <c:f>Sheet1!$B$2:$B$4</c:f>
              <c:numCache>
                <c:formatCode>General</c:formatCode>
                <c:ptCount val="3"/>
                <c:pt idx="0">
                  <c:v>1.113</c:v>
                </c:pt>
                <c:pt idx="1">
                  <c:v>1.02</c:v>
                </c:pt>
                <c:pt idx="2">
                  <c:v>0.522</c:v>
                </c:pt>
              </c:numCache>
            </c:numRef>
          </c:yVal>
          <c:bubbleSize>
            <c:numRef>
              <c:f>Sheet1!$C$2:$C$4</c:f>
              <c:numCache>
                <c:formatCode>General</c:formatCode>
                <c:ptCount val="3"/>
                <c:pt idx="0">
                  <c:v>13521524</c:v>
                </c:pt>
                <c:pt idx="1">
                  <c:v>6122471</c:v>
                </c:pt>
                <c:pt idx="2">
                  <c:v>124795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21.0"/>
          <c:min val="5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2DE655-7B35-4943-8565-569B2BF97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09FC8F-66C9-464C-AED4-9ED232116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A9D81D-50CD-4A58-AC68-F82EA7EE4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355F5D9-003B-45AB-80FD-4190B0417F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635358-1B8F-4804-AE68-E1794DC92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5D1994-EAB1-44C3-8A88-983D6B87C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290368-2770-4EBF-B24A-7E20F9EC62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3636BFB-38FB-47D7-9D69-6182106D3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8.3179</c:v>
                </c:pt>
                <c:pt idx="1">
                  <c:v>290.3998</c:v>
                </c:pt>
                <c:pt idx="2">
                  <c:v>239.0546</c:v>
                </c:pt>
                <c:pt idx="3">
                  <c:v>239.318</c:v>
                </c:pt>
                <c:pt idx="4">
                  <c:v>84.7851</c:v>
                </c:pt>
                <c:pt idx="5">
                  <c:v>583.2216</c:v>
                </c:pt>
                <c:pt idx="6">
                  <c:v>74.3605</c:v>
                </c:pt>
                <c:pt idx="7">
                  <c:v>608.1459</c:v>
                </c:pt>
              </c:numCache>
            </c:numRef>
          </c:xVal>
          <c:yVal>
            <c:numRef>
              <c:f>Sheet1!$B$2:$B$9</c:f>
              <c:numCache>
                <c:formatCode>General</c:formatCode>
                <c:ptCount val="8"/>
                <c:pt idx="0">
                  <c:v>1.354</c:v>
                </c:pt>
                <c:pt idx="1">
                  <c:v>1.986</c:v>
                </c:pt>
                <c:pt idx="2">
                  <c:v>0.722</c:v>
                </c:pt>
                <c:pt idx="3">
                  <c:v>0.659</c:v>
                </c:pt>
                <c:pt idx="4">
                  <c:v>0.413</c:v>
                </c:pt>
                <c:pt idx="5">
                  <c:v>7.76</c:v>
                </c:pt>
                <c:pt idx="6">
                  <c:v>0.387</c:v>
                </c:pt>
                <c:pt idx="7">
                  <c:v>4.844</c:v>
                </c:pt>
              </c:numCache>
            </c:numRef>
          </c:yVal>
          <c:bubbleSize>
            <c:numRef>
              <c:f>Sheet1!$C$2:$C$9</c:f>
              <c:numCache>
                <c:formatCode>General</c:formatCode>
                <c:ptCount val="8"/>
                <c:pt idx="0">
                  <c:v>220806067</c:v>
                </c:pt>
                <c:pt idx="1">
                  <c:v>99185766</c:v>
                </c:pt>
                <c:pt idx="2">
                  <c:v>75019886</c:v>
                </c:pt>
                <c:pt idx="3">
                  <c:v>66004370</c:v>
                </c:pt>
                <c:pt idx="4">
                  <c:v>61986804</c:v>
                </c:pt>
                <c:pt idx="5">
                  <c:v>54751094</c:v>
                </c:pt>
                <c:pt idx="6">
                  <c:v>23746346</c:v>
                </c:pt>
                <c:pt idx="7">
                  <c:v>1581361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0EF20D-9FBE-4AAC-AD13-170275934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CFD01B-3E43-4483-B292-06A68382C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F742C7-9275-4078-BC23-159DDC375F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023BE7-16CA-4DD0-B61C-5ED3472B9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CCDCCF-CA5D-415A-AF0F-9932A38A1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C3EE54-77E3-457E-8ABC-7A17FAF29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189FD7D-A2E8-455D-B4CB-61D9861F0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D28790-9271-47C6-A89D-C6CE4781C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6.2193</c:v>
                </c:pt>
                <c:pt idx="1">
                  <c:v>184.5881</c:v>
                </c:pt>
                <c:pt idx="2">
                  <c:v>153.4755</c:v>
                </c:pt>
                <c:pt idx="3">
                  <c:v>206.3025</c:v>
                </c:pt>
              </c:numCache>
            </c:numRef>
          </c:xVal>
          <c:yVal>
            <c:numRef>
              <c:f>Sheet1!$B$2:$B$5</c:f>
              <c:numCache>
                <c:formatCode>General</c:formatCode>
                <c:ptCount val="4"/>
                <c:pt idx="0">
                  <c:v>0.973</c:v>
                </c:pt>
                <c:pt idx="1">
                  <c:v>0.878</c:v>
                </c:pt>
                <c:pt idx="2">
                  <c:v>0.815</c:v>
                </c:pt>
                <c:pt idx="3">
                  <c:v>2.967</c:v>
                </c:pt>
              </c:numCache>
            </c:numRef>
          </c:yVal>
          <c:bubbleSize>
            <c:numRef>
              <c:f>Sheet1!$C$2:$C$5</c:f>
              <c:numCache>
                <c:formatCode>General</c:formatCode>
                <c:ptCount val="4"/>
                <c:pt idx="0">
                  <c:v>158375035</c:v>
                </c:pt>
                <c:pt idx="1">
                  <c:v>134294871</c:v>
                </c:pt>
                <c:pt idx="2">
                  <c:v>28962983</c:v>
                </c:pt>
                <c:pt idx="3">
                  <c:v>1245902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0"/>
          <c:min val="12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82994E-CDED-4E02-9499-E4FD293BD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B81CB4-74AA-40EB-B7C5-B9051F877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619380-47BB-4796-A211-56DE50EDC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F838F0-6F26-4326-8E66-F663A88D1D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9A4F43-C7A3-4E4F-9392-ABEE3DD1D6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33CF9C-3783-404B-8EB8-6D80F1A61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140BEA-9F9E-4DA7-9041-ADDD779D40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302A55-0E08-4B76-9DC1-7C19AABB2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3146</c:v>
                </c:pt>
                <c:pt idx="1">
                  <c:v>209.0821</c:v>
                </c:pt>
                <c:pt idx="2">
                  <c:v>228.2642</c:v>
                </c:pt>
                <c:pt idx="3">
                  <c:v>577.1653</c:v>
                </c:pt>
                <c:pt idx="4">
                  <c:v>291.3579</c:v>
                </c:pt>
                <c:pt idx="5">
                  <c:v>84.7878</c:v>
                </c:pt>
                <c:pt idx="6">
                  <c:v>563.7208</c:v>
                </c:pt>
                <c:pt idx="7">
                  <c:v>575.9708</c:v>
                </c:pt>
              </c:numCache>
            </c:numRef>
          </c:xVal>
          <c:yVal>
            <c:numRef>
              <c:f>Sheet1!$B$2:$B$9</c:f>
              <c:numCache>
                <c:formatCode>General</c:formatCode>
                <c:ptCount val="8"/>
                <c:pt idx="0">
                  <c:v>1.03</c:v>
                </c:pt>
                <c:pt idx="1">
                  <c:v>0.748</c:v>
                </c:pt>
                <c:pt idx="2">
                  <c:v>0.751</c:v>
                </c:pt>
                <c:pt idx="3">
                  <c:v>4.064</c:v>
                </c:pt>
                <c:pt idx="4">
                  <c:v>1.995</c:v>
                </c:pt>
                <c:pt idx="5">
                  <c:v>0.409</c:v>
                </c:pt>
                <c:pt idx="6">
                  <c:v>6.113</c:v>
                </c:pt>
                <c:pt idx="7">
                  <c:v>4.892</c:v>
                </c:pt>
              </c:numCache>
            </c:numRef>
          </c:yVal>
          <c:bubbleSize>
            <c:numRef>
              <c:f>Sheet1!$C$2:$C$9</c:f>
              <c:numCache>
                <c:formatCode>General</c:formatCode>
                <c:ptCount val="8"/>
                <c:pt idx="0">
                  <c:v>523432960</c:v>
                </c:pt>
                <c:pt idx="1">
                  <c:v>246489415</c:v>
                </c:pt>
                <c:pt idx="2">
                  <c:v>205279552</c:v>
                </c:pt>
                <c:pt idx="3">
                  <c:v>108131910</c:v>
                </c:pt>
                <c:pt idx="4">
                  <c:v>101346207</c:v>
                </c:pt>
                <c:pt idx="5">
                  <c:v>61992752</c:v>
                </c:pt>
                <c:pt idx="6">
                  <c:v>44526055</c:v>
                </c:pt>
                <c:pt idx="7">
                  <c:v>3922706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3.0"/>
          <c:min val="6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0071CD-0F6D-4E8F-BCA3-64CE758DB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D9EAF1-5A47-408D-B422-189EFFE6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3A46E0-2612-4EC7-BA33-B2A6A9D9B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CFAD34-5DC3-420A-8BF6-E4A792BD8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26BA0F-847D-4B25-B18E-786F55785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7FFBDB-B30A-4EB3-AC9A-5AE3A45FC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77336F-5492-4D08-8E9D-087EB8E48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476F23F-1B60-4236-9844-4648860A7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0504</c:v>
                </c:pt>
                <c:pt idx="1">
                  <c:v>589.7992</c:v>
                </c:pt>
                <c:pt idx="2">
                  <c:v>552.8798</c:v>
                </c:pt>
                <c:pt idx="3">
                  <c:v>161.5934</c:v>
                </c:pt>
                <c:pt idx="4">
                  <c:v>133.5788</c:v>
                </c:pt>
                <c:pt idx="5">
                  <c:v>539.2774</c:v>
                </c:pt>
                <c:pt idx="6">
                  <c:v>567.2019</c:v>
                </c:pt>
              </c:numCache>
            </c:numRef>
          </c:xVal>
          <c:yVal>
            <c:numRef>
              <c:f>Sheet1!$B$2:$B$8</c:f>
              <c:numCache>
                <c:formatCode>General</c:formatCode>
                <c:ptCount val="7"/>
                <c:pt idx="0">
                  <c:v>1.021</c:v>
                </c:pt>
                <c:pt idx="1">
                  <c:v>1.805</c:v>
                </c:pt>
                <c:pt idx="2">
                  <c:v>8.344</c:v>
                </c:pt>
                <c:pt idx="3">
                  <c:v>0.496</c:v>
                </c:pt>
                <c:pt idx="4">
                  <c:v>0.323</c:v>
                </c:pt>
                <c:pt idx="5">
                  <c:v>8.555</c:v>
                </c:pt>
                <c:pt idx="6">
                  <c:v>52.46</c:v>
                </c:pt>
              </c:numCache>
            </c:numRef>
          </c:yVal>
          <c:bubbleSize>
            <c:numRef>
              <c:f>Sheet1!$C$2:$C$8</c:f>
              <c:numCache>
                <c:formatCode>General</c:formatCode>
                <c:ptCount val="7"/>
                <c:pt idx="0">
                  <c:v>91166125</c:v>
                </c:pt>
                <c:pt idx="1">
                  <c:v>16169345</c:v>
                </c:pt>
                <c:pt idx="2">
                  <c:v>11875859</c:v>
                </c:pt>
                <c:pt idx="3">
                  <c:v>9268512</c:v>
                </c:pt>
                <c:pt idx="4">
                  <c:v>7397860</c:v>
                </c:pt>
                <c:pt idx="5">
                  <c:v>5504944</c:v>
                </c:pt>
                <c:pt idx="6">
                  <c:v>157341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08.0"/>
          <c:min val="10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22F5C8-4BF1-4975-BA37-3FA0B05AA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0AF172-D139-4DE2-892A-CE5E73462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6E2D21-CA2F-4ED9-B316-C69C5A2D31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17B49A-F774-4423-A9A3-38B355430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7D81C8-696C-4374-B12A-72D57BC2D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0CA214-9FAF-4F74-9B5B-766A47171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58A9F4-9C28-488C-AC53-9ECE8887B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773BB8E-9F6F-4796-B42E-EAFE1A0F7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51.9562</c:v>
                </c:pt>
                <c:pt idx="1">
                  <c:v>580.106</c:v>
                </c:pt>
                <c:pt idx="2">
                  <c:v>243.3535</c:v>
                </c:pt>
                <c:pt idx="3">
                  <c:v>533.7915</c:v>
                </c:pt>
                <c:pt idx="4">
                  <c:v>524.2492</c:v>
                </c:pt>
                <c:pt idx="5">
                  <c:v>369.1292</c:v>
                </c:pt>
                <c:pt idx="6">
                  <c:v>269.4524</c:v>
                </c:pt>
              </c:numCache>
            </c:numRef>
          </c:xVal>
          <c:yVal>
            <c:numRef>
              <c:f>Sheet1!$B$2:$B$8</c:f>
              <c:numCache>
                <c:formatCode>General</c:formatCode>
                <c:ptCount val="7"/>
                <c:pt idx="0">
                  <c:v>1.123</c:v>
                </c:pt>
                <c:pt idx="1">
                  <c:v>1.301</c:v>
                </c:pt>
                <c:pt idx="2">
                  <c:v>0.568</c:v>
                </c:pt>
                <c:pt idx="3">
                  <c:v>1.852</c:v>
                </c:pt>
                <c:pt idx="4">
                  <c:v>1.037</c:v>
                </c:pt>
                <c:pt idx="5">
                  <c:v>1.389</c:v>
                </c:pt>
                <c:pt idx="6">
                  <c:v>0.516</c:v>
                </c:pt>
              </c:numCache>
            </c:numRef>
          </c:yVal>
          <c:bubbleSize>
            <c:numRef>
              <c:f>Sheet1!$C$2:$C$8</c:f>
              <c:numCache>
                <c:formatCode>General</c:formatCode>
                <c:ptCount val="7"/>
                <c:pt idx="0">
                  <c:v>17135479</c:v>
                </c:pt>
                <c:pt idx="1">
                  <c:v>14920906</c:v>
                </c:pt>
                <c:pt idx="2">
                  <c:v>11123445</c:v>
                </c:pt>
                <c:pt idx="3">
                  <c:v>4767826</c:v>
                </c:pt>
                <c:pt idx="4">
                  <c:v>4638557</c:v>
                </c:pt>
                <c:pt idx="5">
                  <c:v>2334373</c:v>
                </c:pt>
                <c:pt idx="6">
                  <c:v>6760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6.0"/>
          <c:min val="19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6E3FA4-3BAF-4FCE-8472-99A7CB5DF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2D0F9F-1C96-47F5-A61D-178AC078A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90EE82-3AD9-44C9-817F-11866EC58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A0B863-A14E-4F90-9FB2-E6F026A52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0C78FE-8CC5-427F-88E5-9BEC1D947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F63768-2742-4388-B6CF-4C0135955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41EDF5-CCA0-48BA-B2FB-F55DF374E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9ADC923-70A5-4DEC-B9EB-2BF794CD3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82.4912</c:v>
                </c:pt>
                <c:pt idx="1">
                  <c:v>268.608</c:v>
                </c:pt>
                <c:pt idx="2">
                  <c:v>267.4877</c:v>
                </c:pt>
                <c:pt idx="3">
                  <c:v>574.6985</c:v>
                </c:pt>
              </c:numCache>
            </c:numRef>
          </c:xVal>
          <c:yVal>
            <c:numRef>
              <c:f>Sheet1!$B$2:$B$5</c:f>
              <c:numCache>
                <c:formatCode>General</c:formatCode>
                <c:ptCount val="4"/>
                <c:pt idx="0">
                  <c:v>1.011</c:v>
                </c:pt>
                <c:pt idx="1">
                  <c:v>0.998</c:v>
                </c:pt>
                <c:pt idx="2">
                  <c:v>0.902</c:v>
                </c:pt>
                <c:pt idx="3">
                  <c:v>4.316</c:v>
                </c:pt>
              </c:numCache>
            </c:numRef>
          </c:yVal>
          <c:bubbleSize>
            <c:numRef>
              <c:f>Sheet1!$C$2:$C$5</c:f>
              <c:numCache>
                <c:formatCode>General</c:formatCode>
                <c:ptCount val="4"/>
                <c:pt idx="0">
                  <c:v>46398891</c:v>
                </c:pt>
                <c:pt idx="1">
                  <c:v>39830266</c:v>
                </c:pt>
                <c:pt idx="2">
                  <c:v>38066705</c:v>
                </c:pt>
                <c:pt idx="3">
                  <c:v>328785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90.0"/>
          <c:min val="2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D37911-6963-4D42-B7ED-478E584F7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AA8CCB-3E01-4FD0-84F4-B37D18FC9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E43FAC-5CA0-4940-9348-4E8D6A62D1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887DF6-D900-4096-8ECB-6CD4BE2F99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EF0E55-FBED-40BB-858F-37FD9FB231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9462AF-D865-454B-B8AB-5F548693E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376105-1B35-447A-8B31-DD46945B43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C30E39-5847-4D0C-9EBA-1EF39F442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7157</c:v>
                </c:pt>
                <c:pt idx="1">
                  <c:v>289.7526</c:v>
                </c:pt>
                <c:pt idx="2">
                  <c:v>237.3521</c:v>
                </c:pt>
                <c:pt idx="3">
                  <c:v>241.7923</c:v>
                </c:pt>
                <c:pt idx="4">
                  <c:v>605.1103</c:v>
                </c:pt>
                <c:pt idx="5">
                  <c:v>84.5424</c:v>
                </c:pt>
                <c:pt idx="6">
                  <c:v>74.7126</c:v>
                </c:pt>
                <c:pt idx="7">
                  <c:v>608.3309</c:v>
                </c:pt>
              </c:numCache>
            </c:numRef>
          </c:xVal>
          <c:yVal>
            <c:numRef>
              <c:f>Sheet1!$B$2:$B$9</c:f>
              <c:numCache>
                <c:formatCode>General</c:formatCode>
                <c:ptCount val="8"/>
                <c:pt idx="0">
                  <c:v>1.315</c:v>
                </c:pt>
                <c:pt idx="1">
                  <c:v>1.937</c:v>
                </c:pt>
                <c:pt idx="2">
                  <c:v>0.704</c:v>
                </c:pt>
                <c:pt idx="3">
                  <c:v>0.643</c:v>
                </c:pt>
                <c:pt idx="4">
                  <c:v>7.54</c:v>
                </c:pt>
                <c:pt idx="5">
                  <c:v>0.395</c:v>
                </c:pt>
                <c:pt idx="6">
                  <c:v>0.377</c:v>
                </c:pt>
                <c:pt idx="7">
                  <c:v>4.652</c:v>
                </c:pt>
              </c:numCache>
            </c:numRef>
          </c:yVal>
          <c:bubbleSize>
            <c:numRef>
              <c:f>Sheet1!$C$2:$C$9</c:f>
              <c:numCache>
                <c:formatCode>General</c:formatCode>
                <c:ptCount val="8"/>
                <c:pt idx="0">
                  <c:v>50208653</c:v>
                </c:pt>
                <c:pt idx="1">
                  <c:v>27303679</c:v>
                </c:pt>
                <c:pt idx="2">
                  <c:v>16480779</c:v>
                </c:pt>
                <c:pt idx="3">
                  <c:v>13895559</c:v>
                </c:pt>
                <c:pt idx="4">
                  <c:v>13297903</c:v>
                </c:pt>
                <c:pt idx="5">
                  <c:v>13020373</c:v>
                </c:pt>
                <c:pt idx="6">
                  <c:v>6583303</c:v>
                </c:pt>
                <c:pt idx="7">
                  <c:v>338657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0.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FF5E89-A15B-489C-931A-0AE17A7C72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8E5151-9B70-4438-99AF-89C49D71F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780792-A14D-4805-B2F2-88758EF51B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26FD49-7AA0-4838-B824-3BEBAC917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53FAD6-5247-4070-A229-0765E97AA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6694E4-A64B-4E55-AEFA-4649D3EF5C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A06E9C-2A3A-4276-BEDA-56EA7BACA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40F8BC-3912-4B7C-B5C2-2617DE266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74.4376</c:v>
                </c:pt>
                <c:pt idx="1">
                  <c:v>229.6143</c:v>
                </c:pt>
                <c:pt idx="2">
                  <c:v>155.3701</c:v>
                </c:pt>
                <c:pt idx="3">
                  <c:v>227.9861</c:v>
                </c:pt>
              </c:numCache>
            </c:numRef>
          </c:xVal>
          <c:yVal>
            <c:numRef>
              <c:f>Sheet1!$B$2:$B$5</c:f>
              <c:numCache>
                <c:formatCode>General</c:formatCode>
                <c:ptCount val="4"/>
                <c:pt idx="0">
                  <c:v>0.89</c:v>
                </c:pt>
                <c:pt idx="1">
                  <c:v>0.962</c:v>
                </c:pt>
                <c:pt idx="2">
                  <c:v>0.782</c:v>
                </c:pt>
                <c:pt idx="3">
                  <c:v>3.168</c:v>
                </c:pt>
              </c:numCache>
            </c:numRef>
          </c:yVal>
          <c:bubbleSize>
            <c:numRef>
              <c:f>Sheet1!$C$2:$C$5</c:f>
              <c:numCache>
                <c:formatCode>General</c:formatCode>
                <c:ptCount val="4"/>
                <c:pt idx="0">
                  <c:v>32727980</c:v>
                </c:pt>
                <c:pt idx="1">
                  <c:v>32367575</c:v>
                </c:pt>
                <c:pt idx="2">
                  <c:v>7441762</c:v>
                </c:pt>
                <c:pt idx="3">
                  <c:v>301762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6.0"/>
          <c:min val="12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834E7A-D4DD-460D-8C7C-51818D0FB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D94C10-6909-4153-A7A9-AC3BE644C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10F910-6EC0-461E-BED4-12AF9533E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CD4651-DDDE-4AE6-9956-3C6E9BCC8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33C143-7A86-45AE-98B3-29635A66F5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3FB6369-4616-4261-8DE4-574409C42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0932CA-5FD5-46B9-977B-B7BEC8C42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4BA9280-A937-4754-8CE8-9F02D5B8F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58.5133</c:v>
                </c:pt>
                <c:pt idx="1">
                  <c:v>593.1544</c:v>
                </c:pt>
                <c:pt idx="2">
                  <c:v>537.7614</c:v>
                </c:pt>
                <c:pt idx="3">
                  <c:v>170.9725</c:v>
                </c:pt>
                <c:pt idx="4">
                  <c:v>135.572</c:v>
                </c:pt>
                <c:pt idx="5">
                  <c:v>557.7117</c:v>
                </c:pt>
                <c:pt idx="6">
                  <c:v>439.1394</c:v>
                </c:pt>
              </c:numCache>
            </c:numRef>
          </c:xVal>
          <c:yVal>
            <c:numRef>
              <c:f>Sheet1!$B$2:$B$8</c:f>
              <c:numCache>
                <c:formatCode>General</c:formatCode>
                <c:ptCount val="7"/>
                <c:pt idx="0">
                  <c:v>1.005</c:v>
                </c:pt>
                <c:pt idx="1">
                  <c:v>1.745</c:v>
                </c:pt>
                <c:pt idx="2">
                  <c:v>8.119</c:v>
                </c:pt>
                <c:pt idx="3">
                  <c:v>0.52</c:v>
                </c:pt>
                <c:pt idx="4">
                  <c:v>0.313</c:v>
                </c:pt>
                <c:pt idx="5">
                  <c:v>8.957</c:v>
                </c:pt>
                <c:pt idx="6">
                  <c:v>3.332</c:v>
                </c:pt>
              </c:numCache>
            </c:numRef>
          </c:yVal>
          <c:bubbleSize>
            <c:numRef>
              <c:f>Sheet1!$C$2:$C$8</c:f>
              <c:numCache>
                <c:formatCode>General</c:formatCode>
                <c:ptCount val="7"/>
                <c:pt idx="0">
                  <c:v>18675262</c:v>
                </c:pt>
                <c:pt idx="1">
                  <c:v>3569010</c:v>
                </c:pt>
                <c:pt idx="2">
                  <c:v>2905525</c:v>
                </c:pt>
                <c:pt idx="3">
                  <c:v>1737764</c:v>
                </c:pt>
                <c:pt idx="4">
                  <c:v>1670789</c:v>
                </c:pt>
                <c:pt idx="5">
                  <c:v>924686</c:v>
                </c:pt>
                <c:pt idx="6">
                  <c:v>3622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2.0"/>
          <c:min val="10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99F14F-6C94-4FC5-B7FB-616BCF767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B3DFD6-79FE-4309-8A59-24C5D222C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7ADF4F-70D8-47E4-8BD4-4E286B23A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3CF1D5B-4E83-4389-A7D8-C059113EC3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3CC42B-9B46-43A9-892A-3DCAB9FAB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34689E-DB45-431F-8C01-28F2ED64C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5C18B7-1FBE-4C2F-B7EC-A2133B977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654E36-0BC2-40A7-89BF-539AC22352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597.2138</c:v>
                </c:pt>
                <c:pt idx="1">
                  <c:v>592.0807</c:v>
                </c:pt>
                <c:pt idx="2">
                  <c:v>245.9218</c:v>
                </c:pt>
                <c:pt idx="3">
                  <c:v>524.3742</c:v>
                </c:pt>
                <c:pt idx="4">
                  <c:v>527.8218</c:v>
                </c:pt>
                <c:pt idx="5">
                  <c:v>392.7601</c:v>
                </c:pt>
                <c:pt idx="6">
                  <c:v>271.2401</c:v>
                </c:pt>
              </c:numCache>
            </c:numRef>
          </c:xVal>
          <c:yVal>
            <c:numRef>
              <c:f>Sheet1!$B$2:$B$8</c:f>
              <c:numCache>
                <c:formatCode>General</c:formatCode>
                <c:ptCount val="7"/>
                <c:pt idx="0">
                  <c:v>1.276</c:v>
                </c:pt>
                <c:pt idx="1">
                  <c:v>1.268</c:v>
                </c:pt>
                <c:pt idx="2">
                  <c:v>0.601</c:v>
                </c:pt>
                <c:pt idx="3">
                  <c:v>1.06</c:v>
                </c:pt>
                <c:pt idx="4">
                  <c:v>3.38</c:v>
                </c:pt>
                <c:pt idx="5">
                  <c:v>1.738</c:v>
                </c:pt>
                <c:pt idx="6">
                  <c:v>0.52</c:v>
                </c:pt>
              </c:numCache>
            </c:numRef>
          </c:yVal>
          <c:bubbleSize>
            <c:numRef>
              <c:f>Sheet1!$C$2:$C$8</c:f>
              <c:numCache>
                <c:formatCode>General</c:formatCode>
                <c:ptCount val="7"/>
                <c:pt idx="0">
                  <c:v>3184941</c:v>
                </c:pt>
                <c:pt idx="1">
                  <c:v>2691007</c:v>
                </c:pt>
                <c:pt idx="2">
                  <c:v>2638741</c:v>
                </c:pt>
                <c:pt idx="3">
                  <c:v>1334008</c:v>
                </c:pt>
                <c:pt idx="4">
                  <c:v>562658</c:v>
                </c:pt>
                <c:pt idx="5">
                  <c:v>379799</c:v>
                </c:pt>
                <c:pt idx="6">
                  <c:v>25984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7.0"/>
          <c:min val="19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9A941F-FBA1-4286-AFC9-B73678E3B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F4B97E-3F0B-4989-8984-3177B461E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B93568-744B-42F2-8C01-8FDA6A478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C4D97A-CACC-4CC3-8F77-70B7BE430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0DD761-C7E0-4227-A0DD-A6AAE08A2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58A7090-6022-43A5-9399-BC9F5DFBA4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D056D7-EA0B-49B3-84B6-BAC764BA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75E6695-3ACB-4879-81B0-4F9CE097D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6.6112</c:v>
                </c:pt>
                <c:pt idx="1">
                  <c:v>257.6296</c:v>
                </c:pt>
                <c:pt idx="2">
                  <c:v>270.7098</c:v>
                </c:pt>
                <c:pt idx="3">
                  <c:v>571.7643</c:v>
                </c:pt>
                <c:pt idx="4">
                  <c:v>686.5945</c:v>
                </c:pt>
              </c:numCache>
            </c:numRef>
          </c:xVal>
          <c:yVal>
            <c:numRef>
              <c:f>Sheet1!$B$2:$B$6</c:f>
              <c:numCache>
                <c:formatCode>General</c:formatCode>
                <c:ptCount val="5"/>
                <c:pt idx="0">
                  <c:v>1.018</c:v>
                </c:pt>
                <c:pt idx="1">
                  <c:v>1.01</c:v>
                </c:pt>
                <c:pt idx="2">
                  <c:v>0.837</c:v>
                </c:pt>
                <c:pt idx="3">
                  <c:v>4.298</c:v>
                </c:pt>
                <c:pt idx="4">
                  <c:v>2.634</c:v>
                </c:pt>
              </c:numCache>
            </c:numRef>
          </c:yVal>
          <c:bubbleSize>
            <c:numRef>
              <c:f>Sheet1!$C$2:$C$6</c:f>
              <c:numCache>
                <c:formatCode>General</c:formatCode>
                <c:ptCount val="5"/>
                <c:pt idx="0">
                  <c:v>8288101</c:v>
                </c:pt>
                <c:pt idx="1">
                  <c:v>5468446</c:v>
                </c:pt>
                <c:pt idx="2">
                  <c:v>5208456</c:v>
                </c:pt>
                <c:pt idx="3">
                  <c:v>909677</c:v>
                </c:pt>
                <c:pt idx="4">
                  <c:v>34879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24.0"/>
          <c:min val="2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454B4B-CEBF-4A7D-A928-1BA4962DA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61FB8E-3135-45AC-9317-96170F4A9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6ED54D-4086-4218-B6EE-FFF2E526C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E2FE19-7BBC-4F6A-86DC-F2ADD02CE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CF7F389-697D-4DE3-A195-02B005388A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BC6658-DEB5-4C7E-B33B-2318D912C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204253-3C9D-4BDB-AA54-BF6C6892E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43E929-2097-4863-9FC8-27571B6EB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40.8622</c:v>
                </c:pt>
                <c:pt idx="1">
                  <c:v>557.1028</c:v>
                </c:pt>
                <c:pt idx="2">
                  <c:v>292.4117</c:v>
                </c:pt>
                <c:pt idx="3">
                  <c:v>233.6338</c:v>
                </c:pt>
                <c:pt idx="4">
                  <c:v>83.2411</c:v>
                </c:pt>
                <c:pt idx="5">
                  <c:v>229.7427</c:v>
                </c:pt>
                <c:pt idx="6">
                  <c:v>503.9979</c:v>
                </c:pt>
                <c:pt idx="7">
                  <c:v>610.582</c:v>
                </c:pt>
                <c:pt idx="8">
                  <c:v>595.6066</c:v>
                </c:pt>
              </c:numCache>
            </c:numRef>
          </c:xVal>
          <c:yVal>
            <c:numRef>
              <c:f>Sheet1!$B$2:$B$10</c:f>
              <c:numCache>
                <c:formatCode>General</c:formatCode>
                <c:ptCount val="9"/>
                <c:pt idx="0">
                  <c:v>1.138</c:v>
                </c:pt>
                <c:pt idx="1">
                  <c:v>5.613</c:v>
                </c:pt>
                <c:pt idx="2">
                  <c:v>1.616</c:v>
                </c:pt>
                <c:pt idx="3">
                  <c:v>0.504</c:v>
                </c:pt>
                <c:pt idx="4">
                  <c:v>0.323</c:v>
                </c:pt>
                <c:pt idx="5">
                  <c:v>0.569</c:v>
                </c:pt>
                <c:pt idx="6">
                  <c:v>3.534</c:v>
                </c:pt>
                <c:pt idx="7">
                  <c:v>5.607</c:v>
                </c:pt>
                <c:pt idx="8">
                  <c:v>3.569</c:v>
                </c:pt>
              </c:numCache>
            </c:numRef>
          </c:yVal>
          <c:bubbleSize>
            <c:numRef>
              <c:f>Sheet1!$C$2:$C$10</c:f>
              <c:numCache>
                <c:formatCode>General</c:formatCode>
                <c:ptCount val="9"/>
                <c:pt idx="0">
                  <c:v>37755157</c:v>
                </c:pt>
                <c:pt idx="1">
                  <c:v>21833973</c:v>
                </c:pt>
                <c:pt idx="2">
                  <c:v>19050625</c:v>
                </c:pt>
                <c:pt idx="3">
                  <c:v>10213069</c:v>
                </c:pt>
                <c:pt idx="4">
                  <c:v>9481823</c:v>
                </c:pt>
                <c:pt idx="5">
                  <c:v>8687950</c:v>
                </c:pt>
                <c:pt idx="6">
                  <c:v>6103415</c:v>
                </c:pt>
                <c:pt idx="7">
                  <c:v>5812130</c:v>
                </c:pt>
                <c:pt idx="8">
                  <c:v>539262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33.0"/>
          <c:min val="6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9D4474-3899-4B9C-8A71-086005885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2ACF1A-4D3B-46FB-816C-2DDC19E45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AA43D4-BB29-482E-8CBD-67E31FC2F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9280D8-6CA9-41C4-A5AD-D0ED919A52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9D6562-2561-4F0A-B699-4C73CFED8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3F09ED-8A32-4F77-BD39-4027CED87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3ECE37-9E93-43EA-ACDA-45473E2A5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80464FB-1750-4A30-9ED6-85158CD0F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76.6296</c:v>
                </c:pt>
                <c:pt idx="1">
                  <c:v>228.4844</c:v>
                </c:pt>
                <c:pt idx="2">
                  <c:v>125.8423</c:v>
                </c:pt>
                <c:pt idx="3">
                  <c:v>220.0135</c:v>
                </c:pt>
                <c:pt idx="4">
                  <c:v>546.3703</c:v>
                </c:pt>
                <c:pt idx="5">
                  <c:v>488.5123</c:v>
                </c:pt>
              </c:numCache>
            </c:numRef>
          </c:xVal>
          <c:yVal>
            <c:numRef>
              <c:f>Sheet1!$B$2:$B$7</c:f>
              <c:numCache>
                <c:formatCode>General</c:formatCode>
                <c:ptCount val="6"/>
                <c:pt idx="0">
                  <c:v>0.843</c:v>
                </c:pt>
                <c:pt idx="1">
                  <c:v>0.954</c:v>
                </c:pt>
                <c:pt idx="2">
                  <c:v>0.825</c:v>
                </c:pt>
                <c:pt idx="3">
                  <c:v>3.102</c:v>
                </c:pt>
                <c:pt idx="4">
                  <c:v>5.073</c:v>
                </c:pt>
                <c:pt idx="5">
                  <c:v>2.99</c:v>
                </c:pt>
              </c:numCache>
            </c:numRef>
          </c:yVal>
          <c:bubbleSize>
            <c:numRef>
              <c:f>Sheet1!$C$2:$C$7</c:f>
              <c:numCache>
                <c:formatCode>General</c:formatCode>
                <c:ptCount val="6"/>
                <c:pt idx="0">
                  <c:v>19872067</c:v>
                </c:pt>
                <c:pt idx="1">
                  <c:v>19481266</c:v>
                </c:pt>
                <c:pt idx="2">
                  <c:v>5647804</c:v>
                </c:pt>
                <c:pt idx="3">
                  <c:v>1917198</c:v>
                </c:pt>
                <c:pt idx="4">
                  <c:v>979642</c:v>
                </c:pt>
                <c:pt idx="5">
                  <c:v>6350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56.0"/>
          <c:min val="10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CF3559-143B-4B11-A8B5-F465D8605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4FFFCF-7FC2-41D9-AF32-654DF517F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1BB4A0-69ED-40D0-8A49-B1B0D39A3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2EF823F-EF04-4B6E-9F05-A2A875694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0C6A8A1-BA66-4881-8948-1B0E7F31F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3627198-3443-4245-B80B-C95621908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844F34-DBBD-4F45-B167-C383BEF9A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947533-C6FF-40FD-8E2B-CD953E599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5.8971</c:v>
                </c:pt>
                <c:pt idx="1">
                  <c:v>455.8596</c:v>
                </c:pt>
                <c:pt idx="2">
                  <c:v>304.6145</c:v>
                </c:pt>
                <c:pt idx="3">
                  <c:v>427.7079</c:v>
                </c:pt>
                <c:pt idx="4">
                  <c:v>503.9086</c:v>
                </c:pt>
                <c:pt idx="5">
                  <c:v>166.6178</c:v>
                </c:pt>
                <c:pt idx="6">
                  <c:v>295.6549</c:v>
                </c:pt>
              </c:numCache>
            </c:numRef>
          </c:xVal>
          <c:yVal>
            <c:numRef>
              <c:f>Sheet1!$B$2:$B$8</c:f>
              <c:numCache>
                <c:formatCode>General</c:formatCode>
                <c:ptCount val="7"/>
                <c:pt idx="0">
                  <c:v>2.219</c:v>
                </c:pt>
                <c:pt idx="1">
                  <c:v>1.8</c:v>
                </c:pt>
                <c:pt idx="2">
                  <c:v>0.744</c:v>
                </c:pt>
                <c:pt idx="3">
                  <c:v>1.121</c:v>
                </c:pt>
                <c:pt idx="4">
                  <c:v>0.541</c:v>
                </c:pt>
                <c:pt idx="5">
                  <c:v>0.999</c:v>
                </c:pt>
                <c:pt idx="6">
                  <c:v>2.341</c:v>
                </c:pt>
              </c:numCache>
            </c:numRef>
          </c:yVal>
          <c:bubbleSize>
            <c:numRef>
              <c:f>Sheet1!$C$2:$C$8</c:f>
              <c:numCache>
                <c:formatCode>General</c:formatCode>
                <c:ptCount val="7"/>
                <c:pt idx="0">
                  <c:v>6292251</c:v>
                </c:pt>
                <c:pt idx="1">
                  <c:v>4300124</c:v>
                </c:pt>
                <c:pt idx="2">
                  <c:v>2476516</c:v>
                </c:pt>
                <c:pt idx="3">
                  <c:v>2076094</c:v>
                </c:pt>
                <c:pt idx="4">
                  <c:v>1069294</c:v>
                </c:pt>
                <c:pt idx="5">
                  <c:v>768941</c:v>
                </c:pt>
                <c:pt idx="6">
                  <c:v>70927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05.0"/>
          <c:min val="13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A7DD1FE-DF18-40E3-949A-8C27864FC8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214B53-CEFC-452D-A00D-1420AEC1D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62FEE8-F0E9-453C-95EF-173BACBB6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E0E7CA-9391-4B69-B193-624B3496F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B44182-568A-4D4C-930E-E6031CD9B5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1BF1F9-E335-441A-8FD5-76A1F480C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765D5CF-90FD-419A-AE2B-E171A97BC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D61D07E-45F7-4410-A4E1-6258662BFC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61.1869</c:v>
                </c:pt>
                <c:pt idx="1">
                  <c:v>568.3691</c:v>
                </c:pt>
                <c:pt idx="2">
                  <c:v>567.9441</c:v>
                </c:pt>
                <c:pt idx="3">
                  <c:v>524.3506</c:v>
                </c:pt>
                <c:pt idx="4">
                  <c:v>126.7676</c:v>
                </c:pt>
                <c:pt idx="5">
                  <c:v>148.7473</c:v>
                </c:pt>
                <c:pt idx="6">
                  <c:v>484.1768</c:v>
                </c:pt>
                <c:pt idx="7">
                  <c:v>503.7749</c:v>
                </c:pt>
              </c:numCache>
            </c:numRef>
          </c:xVal>
          <c:yVal>
            <c:numRef>
              <c:f>Sheet1!$B$2:$B$9</c:f>
              <c:numCache>
                <c:formatCode>General</c:formatCode>
                <c:ptCount val="8"/>
                <c:pt idx="0">
                  <c:v>0.792</c:v>
                </c:pt>
                <c:pt idx="1">
                  <c:v>1.398</c:v>
                </c:pt>
                <c:pt idx="2">
                  <c:v>6.423</c:v>
                </c:pt>
                <c:pt idx="3">
                  <c:v>6.246</c:v>
                </c:pt>
                <c:pt idx="4">
                  <c:v>0.273</c:v>
                </c:pt>
                <c:pt idx="5">
                  <c:v>0.354</c:v>
                </c:pt>
                <c:pt idx="6">
                  <c:v>17.97</c:v>
                </c:pt>
                <c:pt idx="7">
                  <c:v>3.184</c:v>
                </c:pt>
              </c:numCache>
            </c:numRef>
          </c:yVal>
          <c:bubbleSize>
            <c:numRef>
              <c:f>Sheet1!$C$2:$C$9</c:f>
              <c:numCache>
                <c:formatCode>General</c:formatCode>
                <c:ptCount val="8"/>
                <c:pt idx="0">
                  <c:v>13823058</c:v>
                </c:pt>
                <c:pt idx="1">
                  <c:v>4669152</c:v>
                </c:pt>
                <c:pt idx="2">
                  <c:v>4132361</c:v>
                </c:pt>
                <c:pt idx="3">
                  <c:v>2020323</c:v>
                </c:pt>
                <c:pt idx="4">
                  <c:v>933136</c:v>
                </c:pt>
                <c:pt idx="5">
                  <c:v>672784</c:v>
                </c:pt>
                <c:pt idx="6">
                  <c:v>635240</c:v>
                </c:pt>
                <c:pt idx="7">
                  <c:v>39395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82.0"/>
          <c:min val="10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B10DF2-B268-4C15-9326-CAF96C1C7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A38D54-9815-4F2E-AE78-65B4BDE6D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211A71-3502-40B0-8829-8E8C8089A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10AD27-B322-4499-B575-FDEDF310D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BAA6DF-90ED-4468-9D57-085D79E7B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EFA2DC-CDC4-42F9-92CF-A52B964C5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FFF440-59C2-4FFF-9EE3-8DB4C0680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418439-E3D9-432D-BBC5-CC7470F226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528.6275</c:v>
                </c:pt>
                <c:pt idx="1">
                  <c:v>549.8038</c:v>
                </c:pt>
                <c:pt idx="2">
                  <c:v>529.0403</c:v>
                </c:pt>
                <c:pt idx="3">
                  <c:v>233.2843</c:v>
                </c:pt>
                <c:pt idx="4">
                  <c:v>529.2376</c:v>
                </c:pt>
                <c:pt idx="5">
                  <c:v>362.6623</c:v>
                </c:pt>
              </c:numCache>
            </c:numRef>
          </c:xVal>
          <c:yVal>
            <c:numRef>
              <c:f>Sheet1!$B$2:$B$7</c:f>
              <c:numCache>
                <c:formatCode>General</c:formatCode>
                <c:ptCount val="6"/>
                <c:pt idx="0">
                  <c:v>1.029</c:v>
                </c:pt>
                <c:pt idx="1">
                  <c:v>1.105</c:v>
                </c:pt>
                <c:pt idx="2">
                  <c:v>1.228</c:v>
                </c:pt>
                <c:pt idx="3">
                  <c:v>0.555</c:v>
                </c:pt>
                <c:pt idx="4">
                  <c:v>1.068</c:v>
                </c:pt>
                <c:pt idx="5">
                  <c:v>1.175</c:v>
                </c:pt>
              </c:numCache>
            </c:numRef>
          </c:yVal>
          <c:bubbleSize>
            <c:numRef>
              <c:f>Sheet1!$C$2:$C$7</c:f>
              <c:numCache>
                <c:formatCode>General</c:formatCode>
                <c:ptCount val="6"/>
                <c:pt idx="0">
                  <c:v>8379275</c:v>
                </c:pt>
                <c:pt idx="1">
                  <c:v>5299559</c:v>
                </c:pt>
                <c:pt idx="2">
                  <c:v>2663718</c:v>
                </c:pt>
                <c:pt idx="3">
                  <c:v>2100492</c:v>
                </c:pt>
                <c:pt idx="4">
                  <c:v>1220422</c:v>
                </c:pt>
                <c:pt idx="5">
                  <c:v>80329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60.0"/>
          <c:min val="18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6163DE-8D16-4B7F-8182-CFCC2BD26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EFFE0B-15F9-4AB3-8570-33EF5BBEC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D08DEE-911A-49F2-88C0-4E26DB7D5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11DE65-9D1C-4472-A38A-9E1FAF01D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F92DF79-5DD8-4C95-A84D-21A85E5B9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BB94AC-F902-4071-8A40-0255D7F34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2C3841-241D-4777-8AEA-5C32A82702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AB355D-F6CD-4799-A141-AC0219820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1.3541</c:v>
                </c:pt>
                <c:pt idx="1">
                  <c:v>282.9385</c:v>
                </c:pt>
                <c:pt idx="2">
                  <c:v>240.3195</c:v>
                </c:pt>
                <c:pt idx="3">
                  <c:v>565.6129</c:v>
                </c:pt>
                <c:pt idx="4">
                  <c:v>670.1106</c:v>
                </c:pt>
                <c:pt idx="5">
                  <c:v>531.4</c:v>
                </c:pt>
              </c:numCache>
            </c:numRef>
          </c:xVal>
          <c:yVal>
            <c:numRef>
              <c:f>Sheet1!$B$2:$B$7</c:f>
              <c:numCache>
                <c:formatCode>General</c:formatCode>
                <c:ptCount val="6"/>
                <c:pt idx="0">
                  <c:v>0.811</c:v>
                </c:pt>
                <c:pt idx="1">
                  <c:v>1.013</c:v>
                </c:pt>
                <c:pt idx="2">
                  <c:v>0.899</c:v>
                </c:pt>
                <c:pt idx="3">
                  <c:v>4.134</c:v>
                </c:pt>
                <c:pt idx="4">
                  <c:v>2.572</c:v>
                </c:pt>
                <c:pt idx="5">
                  <c:v>2.082</c:v>
                </c:pt>
              </c:numCache>
            </c:numRef>
          </c:yVal>
          <c:bubbleSize>
            <c:numRef>
              <c:f>Sheet1!$C$2:$C$7</c:f>
              <c:numCache>
                <c:formatCode>General</c:formatCode>
                <c:ptCount val="6"/>
                <c:pt idx="0">
                  <c:v>4361752</c:v>
                </c:pt>
                <c:pt idx="1">
                  <c:v>4217482</c:v>
                </c:pt>
                <c:pt idx="2">
                  <c:v>3981133</c:v>
                </c:pt>
                <c:pt idx="3">
                  <c:v>914596</c:v>
                </c:pt>
                <c:pt idx="4">
                  <c:v>478459</c:v>
                </c:pt>
                <c:pt idx="5">
                  <c:v>28164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804.0"/>
          <c:min val="19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63D890-B68D-4BEB-897C-4E5927CE7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A62AC3-186E-4C6B-8028-D60F0ED38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7438B5-B120-43B2-B890-17AEBEAFC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F31146-5C6B-4033-8838-8839459925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3813D34-28D3-45F3-ACA0-9CF655E66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3EA82C-9339-411A-A0BD-E1D1A793C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600049-270E-4CAA-91AC-165A729A4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59FCCD5-ED23-4059-9FD8-030D76AC0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33.9773</c:v>
                </c:pt>
                <c:pt idx="1">
                  <c:v>243.5957</c:v>
                </c:pt>
                <c:pt idx="2">
                  <c:v>280.8538</c:v>
                </c:pt>
                <c:pt idx="3">
                  <c:v>87.3988</c:v>
                </c:pt>
                <c:pt idx="4">
                  <c:v>229.4393</c:v>
                </c:pt>
                <c:pt idx="5">
                  <c:v>73.7171</c:v>
                </c:pt>
              </c:numCache>
            </c:numRef>
          </c:xVal>
          <c:yVal>
            <c:numRef>
              <c:f>Sheet1!$B$2:$B$7</c:f>
              <c:numCache>
                <c:formatCode>General</c:formatCode>
                <c:ptCount val="6"/>
                <c:pt idx="0">
                  <c:v>1.476</c:v>
                </c:pt>
                <c:pt idx="1">
                  <c:v>0.856</c:v>
                </c:pt>
                <c:pt idx="2">
                  <c:v>2.135</c:v>
                </c:pt>
                <c:pt idx="3">
                  <c:v>0.491</c:v>
                </c:pt>
                <c:pt idx="4">
                  <c:v>0.779</c:v>
                </c:pt>
                <c:pt idx="5">
                  <c:v>0.464</c:v>
                </c:pt>
              </c:numCache>
            </c:numRef>
          </c:yVal>
          <c:bubbleSize>
            <c:numRef>
              <c:f>Sheet1!$C$2:$C$7</c:f>
              <c:numCache>
                <c:formatCode>General</c:formatCode>
                <c:ptCount val="6"/>
                <c:pt idx="0">
                  <c:v>39156801</c:v>
                </c:pt>
                <c:pt idx="1">
                  <c:v>13549521</c:v>
                </c:pt>
                <c:pt idx="2">
                  <c:v>12857206</c:v>
                </c:pt>
                <c:pt idx="3">
                  <c:v>10152939</c:v>
                </c:pt>
                <c:pt idx="4">
                  <c:v>9754842</c:v>
                </c:pt>
                <c:pt idx="5">
                  <c:v>320278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37.0"/>
          <c:min val="59.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2DD92B-9D28-4CD5-9209-9EB5E16E9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560294-1C58-4E79-9ACB-883AFE334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97983F-D968-4EB4-A403-D373D33BB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16F775F-F64E-4A7E-A1B9-FC618AFFD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77765B-55E9-4691-8A98-ED0DA6F36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FC49A0-9FB2-43D9-8BEE-6034520C5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23280CE-1D58-44A3-8B62-041888BE2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7628424-FD82-4F3E-B1A9-8A04FAF394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27.6257</c:v>
                </c:pt>
                <c:pt idx="1">
                  <c:v>198.3002</c:v>
                </c:pt>
                <c:pt idx="2">
                  <c:v>173.0787</c:v>
                </c:pt>
                <c:pt idx="3">
                  <c:v>156.0933</c:v>
                </c:pt>
                <c:pt idx="4">
                  <c:v>241.4935</c:v>
                </c:pt>
              </c:numCache>
            </c:numRef>
          </c:xVal>
          <c:yVal>
            <c:numRef>
              <c:f>Sheet1!$B$2:$B$6</c:f>
              <c:numCache>
                <c:formatCode>General</c:formatCode>
                <c:ptCount val="5"/>
                <c:pt idx="0">
                  <c:v>1.004</c:v>
                </c:pt>
                <c:pt idx="1">
                  <c:v>0.875</c:v>
                </c:pt>
                <c:pt idx="2">
                  <c:v>0.875</c:v>
                </c:pt>
                <c:pt idx="3">
                  <c:v>2.398</c:v>
                </c:pt>
                <c:pt idx="4">
                  <c:v>0.908</c:v>
                </c:pt>
              </c:numCache>
            </c:numRef>
          </c:yVal>
          <c:bubbleSize>
            <c:numRef>
              <c:f>Sheet1!$C$2:$C$6</c:f>
              <c:numCache>
                <c:formatCode>General</c:formatCode>
                <c:ptCount val="5"/>
                <c:pt idx="0">
                  <c:v>33943091</c:v>
                </c:pt>
                <c:pt idx="1">
                  <c:v>23165034</c:v>
                </c:pt>
                <c:pt idx="2">
                  <c:v>3444094</c:v>
                </c:pt>
                <c:pt idx="3">
                  <c:v>2234476</c:v>
                </c:pt>
                <c:pt idx="4">
                  <c:v>70129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0"/>
          <c:min val="12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812FFA-D149-499A-9180-1C59B708D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D5D5CE-DEC0-43DE-97CA-18C05A5B41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77467A-F367-428C-B027-088D60DE9B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BCEDB95-33AD-445D-9120-0686038E2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5A852D-0994-4176-A445-22A344642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5D667C-DEE5-4A2B-8482-9BFB62807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ECE0420-5E86-46BB-BBBA-65F1EE1B10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B34EC08-8D71-4EC1-A92D-F0C69AA5D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7.0799</c:v>
                </c:pt>
                <c:pt idx="1">
                  <c:v>150.4076</c:v>
                </c:pt>
                <c:pt idx="2">
                  <c:v>131.8665</c:v>
                </c:pt>
                <c:pt idx="3">
                  <c:v>598.6777</c:v>
                </c:pt>
                <c:pt idx="4">
                  <c:v>519.697</c:v>
                </c:pt>
              </c:numCache>
            </c:numRef>
          </c:xVal>
          <c:yVal>
            <c:numRef>
              <c:f>Sheet1!$B$2:$B$6</c:f>
              <c:numCache>
                <c:formatCode>General</c:formatCode>
                <c:ptCount val="5"/>
                <c:pt idx="0">
                  <c:v>1.224</c:v>
                </c:pt>
                <c:pt idx="1">
                  <c:v>0.572</c:v>
                </c:pt>
                <c:pt idx="2">
                  <c:v>0.387</c:v>
                </c:pt>
                <c:pt idx="3">
                  <c:v>2.25</c:v>
                </c:pt>
                <c:pt idx="4">
                  <c:v>9.469</c:v>
                </c:pt>
              </c:numCache>
            </c:numRef>
          </c:yVal>
          <c:bubbleSize>
            <c:numRef>
              <c:f>Sheet1!$C$2:$C$6</c:f>
              <c:numCache>
                <c:formatCode>General</c:formatCode>
                <c:ptCount val="5"/>
                <c:pt idx="0">
                  <c:v>20540249</c:v>
                </c:pt>
                <c:pt idx="1">
                  <c:v>2871732</c:v>
                </c:pt>
                <c:pt idx="2">
                  <c:v>1293742</c:v>
                </c:pt>
                <c:pt idx="3">
                  <c:v>705841</c:v>
                </c:pt>
                <c:pt idx="4">
                  <c:v>57114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18.0"/>
          <c:min val="10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DCB5DA-A4B4-4E62-9409-9701E1AC9D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236163-444F-4E9F-84EE-66E91E3765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249C1E-720D-45B1-B4A1-AC273FCCB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176750-966D-4265-8407-83562A0336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F10D94-B75D-4FF1-A9F0-F795758E9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317D7A0-07EB-4DA0-8B54-95EC84C6E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85699A-EDF4-4893-9C12-661E414A3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3F9131E-CD4E-4DCA-9935-534956A82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9.7146</c:v>
                </c:pt>
                <c:pt idx="1">
                  <c:v>617.1397</c:v>
                </c:pt>
                <c:pt idx="2">
                  <c:v>464.4211</c:v>
                </c:pt>
                <c:pt idx="3">
                  <c:v>530.0423</c:v>
                </c:pt>
                <c:pt idx="4">
                  <c:v>298.6997</c:v>
                </c:pt>
                <c:pt idx="5">
                  <c:v>261.8225</c:v>
                </c:pt>
                <c:pt idx="6">
                  <c:v>609.027</c:v>
                </c:pt>
              </c:numCache>
            </c:numRef>
          </c:xVal>
          <c:yVal>
            <c:numRef>
              <c:f>Sheet1!$B$2:$B$8</c:f>
              <c:numCache>
                <c:formatCode>General</c:formatCode>
                <c:ptCount val="7"/>
                <c:pt idx="0">
                  <c:v>0.69</c:v>
                </c:pt>
                <c:pt idx="1">
                  <c:v>12.285</c:v>
                </c:pt>
                <c:pt idx="2">
                  <c:v>1.426</c:v>
                </c:pt>
                <c:pt idx="3">
                  <c:v>3.656</c:v>
                </c:pt>
                <c:pt idx="4">
                  <c:v>1.449</c:v>
                </c:pt>
                <c:pt idx="5">
                  <c:v>0.604</c:v>
                </c:pt>
                <c:pt idx="6">
                  <c:v>0.0</c:v>
                </c:pt>
              </c:numCache>
            </c:numRef>
          </c:yVal>
          <c:bubbleSize>
            <c:numRef>
              <c:f>Sheet1!$C$2:$C$8</c:f>
              <c:numCache>
                <c:formatCode>General</c:formatCode>
                <c:ptCount val="7"/>
                <c:pt idx="0">
                  <c:v>1756992</c:v>
                </c:pt>
                <c:pt idx="1">
                  <c:v>560980</c:v>
                </c:pt>
                <c:pt idx="2">
                  <c:v>273544</c:v>
                </c:pt>
                <c:pt idx="3">
                  <c:v>200356</c:v>
                </c:pt>
                <c:pt idx="4">
                  <c:v>172051</c:v>
                </c:pt>
                <c:pt idx="5">
                  <c:v>104729</c:v>
                </c:pt>
                <c:pt idx="6">
                  <c:v>6760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41.0"/>
          <c:min val="20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1B2107-4372-4A77-8558-EA4E58036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712C1E-A169-4D35-9549-878CD6327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BCFC17-D168-45A2-8513-721EEAE8F2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93F8658-725C-4AC2-875C-64B23B069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284CAD-6574-4BEB-9BF6-06FAE0EF1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BDDB95-548C-472E-A682-3B7F0FC81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5B45366-ACDC-4849-8D9F-EE936715BF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B006CBE-5571-4196-B029-51D18DC2E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84.5275</c:v>
                </c:pt>
                <c:pt idx="1">
                  <c:v>263.9777</c:v>
                </c:pt>
                <c:pt idx="2">
                  <c:v>257.2737</c:v>
                </c:pt>
              </c:numCache>
            </c:numRef>
          </c:xVal>
          <c:yVal>
            <c:numRef>
              <c:f>Sheet1!$B$2:$B$4</c:f>
              <c:numCache>
                <c:formatCode>General</c:formatCode>
                <c:ptCount val="3"/>
                <c:pt idx="0">
                  <c:v>1.044</c:v>
                </c:pt>
                <c:pt idx="1">
                  <c:v>1.002</c:v>
                </c:pt>
                <c:pt idx="2">
                  <c:v>0.918</c:v>
                </c:pt>
              </c:numCache>
            </c:numRef>
          </c:yVal>
          <c:bubbleSize>
            <c:numRef>
              <c:f>Sheet1!$C$2:$C$4</c:f>
              <c:numCache>
                <c:formatCode>General</c:formatCode>
                <c:ptCount val="3"/>
                <c:pt idx="0">
                  <c:v>12646396</c:v>
                </c:pt>
                <c:pt idx="1">
                  <c:v>9949583</c:v>
                </c:pt>
                <c:pt idx="2">
                  <c:v>785688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41.0"/>
          <c:min val="20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33F288-781A-4430-BE7A-0DF2BAC8D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16A583-445A-4A6E-85D7-EF77D0969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FC35BE2-2526-449C-9A7E-998144399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CA19FE-BBBB-415B-A0A3-200342320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D75335-47B7-4328-BAC1-8F1B4716A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BBD3FD-4D03-41C6-BCAA-E1A45BAC7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E529CEC-8264-401E-83A7-40DF4CA71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60923E-AB44-4736-90B8-B746DDEE4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37.4459</c:v>
                </c:pt>
                <c:pt idx="1">
                  <c:v>289.0043</c:v>
                </c:pt>
                <c:pt idx="2">
                  <c:v>234.1463</c:v>
                </c:pt>
                <c:pt idx="3">
                  <c:v>84.9795</c:v>
                </c:pt>
                <c:pt idx="4">
                  <c:v>240.1393</c:v>
                </c:pt>
                <c:pt idx="5">
                  <c:v>601.1332</c:v>
                </c:pt>
                <c:pt idx="6">
                  <c:v>74.4418</c:v>
                </c:pt>
                <c:pt idx="7">
                  <c:v>628.8737</c:v>
                </c:pt>
              </c:numCache>
            </c:numRef>
          </c:xVal>
          <c:yVal>
            <c:numRef>
              <c:f>Sheet1!$B$2:$B$9</c:f>
              <c:numCache>
                <c:formatCode>General</c:formatCode>
                <c:ptCount val="8"/>
                <c:pt idx="0">
                  <c:v>1.405</c:v>
                </c:pt>
                <c:pt idx="1">
                  <c:v>2.035</c:v>
                </c:pt>
                <c:pt idx="2">
                  <c:v>0.749</c:v>
                </c:pt>
                <c:pt idx="3">
                  <c:v>0.452</c:v>
                </c:pt>
                <c:pt idx="4">
                  <c:v>0.69</c:v>
                </c:pt>
                <c:pt idx="5">
                  <c:v>8.591</c:v>
                </c:pt>
                <c:pt idx="6">
                  <c:v>0.405</c:v>
                </c:pt>
                <c:pt idx="7">
                  <c:v>5.034</c:v>
                </c:pt>
              </c:numCache>
            </c:numRef>
          </c:yVal>
          <c:bubbleSize>
            <c:numRef>
              <c:f>Sheet1!$C$2:$C$9</c:f>
              <c:numCache>
                <c:formatCode>General</c:formatCode>
                <c:ptCount val="8"/>
                <c:pt idx="0">
                  <c:v>36316877</c:v>
                </c:pt>
                <c:pt idx="1">
                  <c:v>15832523</c:v>
                </c:pt>
                <c:pt idx="2">
                  <c:v>13015722</c:v>
                </c:pt>
                <c:pt idx="3">
                  <c:v>12461813</c:v>
                </c:pt>
                <c:pt idx="4">
                  <c:v>11205618</c:v>
                </c:pt>
                <c:pt idx="5">
                  <c:v>7913318</c:v>
                </c:pt>
                <c:pt idx="6">
                  <c:v>4963182</c:v>
                </c:pt>
                <c:pt idx="7">
                  <c:v>3031800</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755.0"/>
          <c:min val="6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107F23-BFDA-46CC-BFAB-A6D7B2BC05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9968F7-52BA-43BD-8583-EE6142188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5B2A57-BB66-4913-A4BE-D86585D43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F6DBCE-74FD-4796-93A3-C1B37019C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895899-20DB-449B-8078-E1F3E2B02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5C88EDA-FE2B-45E5-8254-E424750193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CC2768-FC5C-4143-8DE7-0A0679C39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054325C-F664-4D15-B76F-6FE0365AC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5.6895</c:v>
                </c:pt>
                <c:pt idx="1">
                  <c:v>191.9097</c:v>
                </c:pt>
                <c:pt idx="2">
                  <c:v>162.4524</c:v>
                </c:pt>
                <c:pt idx="3">
                  <c:v>214.8602</c:v>
                </c:pt>
              </c:numCache>
            </c:numRef>
          </c:xVal>
          <c:yVal>
            <c:numRef>
              <c:f>Sheet1!$B$2:$B$5</c:f>
              <c:numCache>
                <c:formatCode>General</c:formatCode>
                <c:ptCount val="4"/>
                <c:pt idx="0">
                  <c:v>0.975</c:v>
                </c:pt>
                <c:pt idx="1">
                  <c:v>0.875</c:v>
                </c:pt>
                <c:pt idx="2">
                  <c:v>0.807</c:v>
                </c:pt>
                <c:pt idx="3">
                  <c:v>3.12</c:v>
                </c:pt>
              </c:numCache>
            </c:numRef>
          </c:yVal>
          <c:bubbleSize>
            <c:numRef>
              <c:f>Sheet1!$C$2:$C$5</c:f>
              <c:numCache>
                <c:formatCode>General</c:formatCode>
                <c:ptCount val="4"/>
                <c:pt idx="0">
                  <c:v>28072614</c:v>
                </c:pt>
                <c:pt idx="1">
                  <c:v>21682914</c:v>
                </c:pt>
                <c:pt idx="2">
                  <c:v>4595292</c:v>
                </c:pt>
                <c:pt idx="3">
                  <c:v>184564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71.0"/>
          <c:min val="130.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8.bin"/><Relationship Id="rId5" Type="http://schemas.openxmlformats.org/officeDocument/2006/relationships/image" Target="../media/image28.emf"/></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0.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1.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7.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0.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40908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8741641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5811235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805740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403316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992231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8844160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1288598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61016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672647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440900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127394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132919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7401809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997630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65184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6.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Tanning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erapi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fter Sun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Australian Gol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7.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Banded Pack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19.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39.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Vich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6.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6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86.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6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8161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Adults (8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2.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4.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6.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3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6.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Kids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8.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4.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5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Baby (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6.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5.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Mustel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26.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73.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8961021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Segment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unscreen Cosmetics (6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8.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8.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0.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Nuv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Derma (2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80.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99.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21.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9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clipso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7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Sunscreen Spor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9.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3995945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7/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ubCategory | Sun Care | Autos Scanning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No Spray Crema (4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3.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Neutrogen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9.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8.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Caribbean Beach</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60.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Liquido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0.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eauty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2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Gel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60.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75.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9.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6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pray Liquido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8.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waiian Trop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00.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anana Boa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5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No Spray Fluido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Roche-Posa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7.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Isd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96.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Nive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200.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Aven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ucer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13.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hotoderm</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5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9864652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800744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Sou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806427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North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01147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900726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Southea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1186481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Bají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9728596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Wes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621610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n Care | Autos Scanning Cent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5859423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6266329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529994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Tanning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2019138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8432795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9752896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37512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7161847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4473888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34249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386182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2904390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300528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544012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After Su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9918054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9536434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7707487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729148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5452704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Banded Pac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2078207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259586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647081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7500280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7219067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4418596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7011004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1307493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842098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69960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218397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7420724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592426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091265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678056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8999910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2508213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5903603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323394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Adult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8899825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Bab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405283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380683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120413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917880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988608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14332623"/>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3190950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3684227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306988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4058825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2752565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252351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709165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2239354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744947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6099642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9893134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5460806"/>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5660518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9080513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5932598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1221264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Cosmetic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398089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2842788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Der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5383564"/>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Sunscreen Spor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11487353"/>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2711180"/>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0828438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585802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550623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0935941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64114111"/>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6397901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61728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59451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5115903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072747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28914617"/>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79603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North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587814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2771748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Southeast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12034662"/>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145977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69669266"/>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20040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78878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7704330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Bajío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6782897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3153782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0509008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89618203"/>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No Spray Fl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0999868"/>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West |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0009204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Crem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2005140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Liquido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4349981"/>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7/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Autos Scanning Center | No Spray Ge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050554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3936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6000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501996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897006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94388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359255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96122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96263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19174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North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261233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984277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60794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10305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608591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Tanning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43754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After Su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982799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810221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5638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04805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17833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Southea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530353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85326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398102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21176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310633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0650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24628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254593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00751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76505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66227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Bají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79526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14271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105556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694942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01140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Adult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606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Baby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903059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Kid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36018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256927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934677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00798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Wes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19290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162582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392515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910367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54514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184258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466125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820807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503170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482966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650722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un Care | Autos Scanning Cente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645975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526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0732600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31621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578441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West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754712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Cosmetic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659464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Der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260799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Center | Sunscreen Spo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0826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549382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547444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unscreen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425711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656086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439431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693986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8922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016689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239391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2179129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5416086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442114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29546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 Banded Pack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3418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08264850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26073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North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51785656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868309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95920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Ge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383219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No Spray Fl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540707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Southeast |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089512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Crema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8700151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7/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utos Scanning Bajío | No Spray Liquido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481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14276</Words>
  <Application>Microsoft Office PowerPoint</Application>
  <PresentationFormat>On-screen Show (16:9)</PresentationFormat>
  <Paragraphs>2700</Paragraphs>
  <Slides>208</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8</vt:i4>
      </vt:variant>
    </vt:vector>
  </HeadingPairs>
  <TitlesOfParts>
    <vt:vector size="2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6T10:5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